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9"/>
  </p:notesMasterIdLst>
  <p:sldIdLst>
    <p:sldId id="263" r:id="rId2"/>
    <p:sldId id="488" r:id="rId3"/>
    <p:sldId id="264" r:id="rId4"/>
    <p:sldId id="492" r:id="rId5"/>
    <p:sldId id="490" r:id="rId6"/>
    <p:sldId id="489" r:id="rId7"/>
    <p:sldId id="493" r:id="rId8"/>
  </p:sldIdLst>
  <p:sldSz cx="10691813" cy="7559675"/>
  <p:notesSz cx="6858000" cy="9144000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Franklin Gothic" panose="020B0604020202020204" charset="0"/>
      <p:regular r:id="rId14"/>
      <p:bold r:id="rId15"/>
      <p:italic r:id="rId16"/>
      <p:boldItalic r:id="rId17"/>
    </p:embeddedFont>
    <p:embeddedFont>
      <p:font typeface="Libre Franklin" pitchFamily="2" charset="0"/>
      <p:regular r:id="rId18"/>
      <p:bold r:id="rId19"/>
      <p:italic r:id="rId20"/>
      <p:boldItalic r:id="rId21"/>
    </p:embeddedFont>
    <p:embeddedFont>
      <p:font typeface="Noto Sans Symbols" panose="020B0604020202020204" charset="0"/>
      <p:regular r:id="rId22"/>
      <p:bold r:id="rId23"/>
    </p:embeddedFont>
  </p:embeddedFontLst>
  <p:custDataLst>
    <p:tags r:id="rId2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8" roundtripDataSignature="AMtx7mgohWxkuBKYvqnC2cILTChK7pEsFA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187C1AD-F1B5-325E-2F20-C04524BC8B96}" name="Casa 3" initials="C3" userId="S::casa3@infomineo.onmicrosoft.com::d591ae76-e12b-476f-b482-d9cb8033e0a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EF6"/>
    <a:srgbClr val="2730D8"/>
    <a:srgbClr val="355DD8"/>
    <a:srgbClr val="118DFF"/>
    <a:srgbClr val="00B9FF"/>
    <a:srgbClr val="0F47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19" autoAdjust="0"/>
    <p:restoredTop sz="94364" autoAdjust="0"/>
  </p:normalViewPr>
  <p:slideViewPr>
    <p:cSldViewPr snapToGrid="0">
      <p:cViewPr varScale="1">
        <p:scale>
          <a:sx n="49" d="100"/>
          <a:sy n="49" d="100"/>
        </p:scale>
        <p:origin x="1500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12.fntdata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38" Type="http://customschemas.google.com/relationships/presentationmetadata" Target="meta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24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font" Target="fonts/font14.fntdata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font" Target="fonts/font13.fntdata"/><Relationship Id="rId43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" name="Google Shape;1320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21" name="Google Shape;1321;p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22" name="Google Shape;1322;p4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lang="en-IN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7357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" name="Google Shape;1320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21" name="Google Shape;1321;p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22" name="Google Shape;1322;p4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3365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" name="Google Shape;892;p2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3" name="Google Shape;893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12460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" name="Google Shape;892;p2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3" name="Google Shape;893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055784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" name="Google Shape;1320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21" name="Google Shape;1321;p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22" name="Google Shape;1322;p4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82938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>
  <p:cSld name="Title Slide (Option 2)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Google Shape;62;p10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8469" t="3128" r="8468" b="3127"/>
          <a:stretch/>
        </p:blipFill>
        <p:spPr>
          <a:xfrm>
            <a:off x="236780" y="236780"/>
            <a:ext cx="10218254" cy="7086118"/>
          </a:xfrm>
          <a:prstGeom prst="rect">
            <a:avLst/>
          </a:prstGeom>
          <a:noFill/>
          <a:ln>
            <a:noFill/>
          </a:ln>
        </p:spPr>
      </p:pic>
      <p:sp>
        <p:nvSpPr>
          <p:cNvPr id="63" name="Google Shape;63;p10"/>
          <p:cNvSpPr/>
          <p:nvPr/>
        </p:nvSpPr>
        <p:spPr>
          <a:xfrm>
            <a:off x="470439" y="480160"/>
            <a:ext cx="6411747" cy="7079515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803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" name="Google Shape;64;p10"/>
          <p:cNvSpPr txBox="1">
            <a:spLocks noGrp="1"/>
          </p:cNvSpPr>
          <p:nvPr>
            <p:ph type="ctrTitle"/>
          </p:nvPr>
        </p:nvSpPr>
        <p:spPr>
          <a:xfrm>
            <a:off x="923269" y="3647481"/>
            <a:ext cx="5380568" cy="1090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subTitle" idx="1"/>
          </p:nvPr>
        </p:nvSpPr>
        <p:spPr>
          <a:xfrm>
            <a:off x="923269" y="4815019"/>
            <a:ext cx="5380568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lvl="4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66" name="Google Shape;66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23266" y="924940"/>
            <a:ext cx="2752975" cy="624132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Google Shape;67;p10"/>
          <p:cNvSpPr txBox="1">
            <a:spLocks noGrp="1"/>
          </p:cNvSpPr>
          <p:nvPr>
            <p:ph type="dt" idx="10"/>
          </p:nvPr>
        </p:nvSpPr>
        <p:spPr>
          <a:xfrm>
            <a:off x="921225" y="6529774"/>
            <a:ext cx="1550746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8_Custom Layout">
  <p:cSld name="8_Custom Layout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23"/>
          <p:cNvSpPr/>
          <p:nvPr/>
        </p:nvSpPr>
        <p:spPr>
          <a:xfrm>
            <a:off x="3" y="0"/>
            <a:ext cx="10691813" cy="7559675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" name="Google Shape;168;p23"/>
          <p:cNvSpPr txBox="1">
            <a:spLocks noGrp="1"/>
          </p:cNvSpPr>
          <p:nvPr>
            <p:ph type="title"/>
          </p:nvPr>
        </p:nvSpPr>
        <p:spPr>
          <a:xfrm>
            <a:off x="483081" y="484188"/>
            <a:ext cx="9725386" cy="367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23"/>
          <p:cNvSpPr txBox="1">
            <a:spLocks noGrp="1"/>
          </p:cNvSpPr>
          <p:nvPr>
            <p:ph type="ftr" idx="11"/>
          </p:nvPr>
        </p:nvSpPr>
        <p:spPr>
          <a:xfrm>
            <a:off x="483081" y="7135906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23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cxnSp>
        <p:nvCxnSpPr>
          <p:cNvPr id="171" name="Google Shape;171;p23"/>
          <p:cNvCxnSpPr/>
          <p:nvPr/>
        </p:nvCxnSpPr>
        <p:spPr>
          <a:xfrm>
            <a:off x="473028" y="383916"/>
            <a:ext cx="473555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" name="Google Shape;172;p23"/>
          <p:cNvGrpSpPr/>
          <p:nvPr/>
        </p:nvGrpSpPr>
        <p:grpSpPr>
          <a:xfrm>
            <a:off x="10518694" y="5440544"/>
            <a:ext cx="97271" cy="1816408"/>
            <a:chOff x="10518694" y="5463404"/>
            <a:chExt cx="97271" cy="1816408"/>
          </a:xfrm>
        </p:grpSpPr>
        <p:grpSp>
          <p:nvGrpSpPr>
            <p:cNvPr id="173" name="Google Shape;173;p23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174" name="Google Shape;174;p23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175;p23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176;p23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177;p23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178;p23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179;p23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180;p23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181;p23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182;p23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183;p23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184;p23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185;p23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186;p23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7" name="Google Shape;187;p23"/>
            <p:cNvSpPr txBox="1"/>
            <p:nvPr/>
          </p:nvSpPr>
          <p:spPr>
            <a:xfrm rot="-5400000">
              <a:off x="9874832" y="6107266"/>
              <a:ext cx="1384995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ustom Layout">
  <p:cSld name="Custom Layout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24"/>
          <p:cNvSpPr/>
          <p:nvPr/>
        </p:nvSpPr>
        <p:spPr>
          <a:xfrm>
            <a:off x="3" y="0"/>
            <a:ext cx="10691813" cy="7559675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" name="Google Shape;190;p24"/>
          <p:cNvSpPr txBox="1">
            <a:spLocks noGrp="1"/>
          </p:cNvSpPr>
          <p:nvPr>
            <p:ph type="ftr" idx="11"/>
          </p:nvPr>
        </p:nvSpPr>
        <p:spPr>
          <a:xfrm>
            <a:off x="483081" y="7135906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24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grpSp>
        <p:nvGrpSpPr>
          <p:cNvPr id="192" name="Google Shape;192;p24"/>
          <p:cNvGrpSpPr/>
          <p:nvPr/>
        </p:nvGrpSpPr>
        <p:grpSpPr>
          <a:xfrm>
            <a:off x="10518694" y="5440544"/>
            <a:ext cx="97271" cy="1816408"/>
            <a:chOff x="10518694" y="5463404"/>
            <a:chExt cx="97271" cy="1816408"/>
          </a:xfrm>
        </p:grpSpPr>
        <p:grpSp>
          <p:nvGrpSpPr>
            <p:cNvPr id="193" name="Google Shape;193;p24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194" name="Google Shape;194;p24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195;p24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196;p24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197;p24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198;p24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199;p24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200;p24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201;p24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202;p24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203;p24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4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24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24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07" name="Google Shape;207;p24"/>
            <p:cNvSpPr txBox="1"/>
            <p:nvPr/>
          </p:nvSpPr>
          <p:spPr>
            <a:xfrm rot="-5400000">
              <a:off x="9874832" y="6107266"/>
              <a:ext cx="1384995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ustom Layout">
  <p:cSld name="6_Custom Layout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25"/>
          <p:cNvSpPr/>
          <p:nvPr/>
        </p:nvSpPr>
        <p:spPr>
          <a:xfrm>
            <a:off x="7133806" y="-1"/>
            <a:ext cx="3560233" cy="7559676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" name="Google Shape;210;p25"/>
          <p:cNvSpPr txBox="1">
            <a:spLocks noGrp="1"/>
          </p:cNvSpPr>
          <p:nvPr>
            <p:ph type="sldNum" idx="12"/>
          </p:nvPr>
        </p:nvSpPr>
        <p:spPr>
          <a:xfrm>
            <a:off x="10075683" y="7135906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211" name="Google Shape;211;p25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371897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25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6444098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3" name="Google Shape;213;p25"/>
          <p:cNvGrpSpPr/>
          <p:nvPr/>
        </p:nvGrpSpPr>
        <p:grpSpPr>
          <a:xfrm>
            <a:off x="10518694" y="5440544"/>
            <a:ext cx="97271" cy="1816408"/>
            <a:chOff x="10518694" y="5463404"/>
            <a:chExt cx="97271" cy="1816408"/>
          </a:xfrm>
        </p:grpSpPr>
        <p:grpSp>
          <p:nvGrpSpPr>
            <p:cNvPr id="214" name="Google Shape;214;p25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215" name="Google Shape;215;p25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25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25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25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25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25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1" name="Google Shape;221;p25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222;p25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25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5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25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25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25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8" name="Google Shape;228;p25"/>
            <p:cNvSpPr txBox="1"/>
            <p:nvPr/>
          </p:nvSpPr>
          <p:spPr>
            <a:xfrm rot="-5400000">
              <a:off x="9874832" y="6107266"/>
              <a:ext cx="1384995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ustom Layout">
  <p:cSld name="7_Custom Layout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26"/>
          <p:cNvSpPr/>
          <p:nvPr/>
        </p:nvSpPr>
        <p:spPr>
          <a:xfrm>
            <a:off x="5345910" y="-1"/>
            <a:ext cx="5348133" cy="7559676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1" name="Google Shape;231;p26"/>
          <p:cNvSpPr txBox="1">
            <a:spLocks noGrp="1"/>
          </p:cNvSpPr>
          <p:nvPr>
            <p:ph type="sldNum" idx="12"/>
          </p:nvPr>
        </p:nvSpPr>
        <p:spPr>
          <a:xfrm>
            <a:off x="10075683" y="7135906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232" name="Google Shape;232;p26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371897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" name="Google Shape;233;p26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4735873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34" name="Google Shape;234;p26"/>
          <p:cNvGrpSpPr/>
          <p:nvPr/>
        </p:nvGrpSpPr>
        <p:grpSpPr>
          <a:xfrm>
            <a:off x="10518694" y="5451766"/>
            <a:ext cx="97271" cy="1805187"/>
            <a:chOff x="10518694" y="5474626"/>
            <a:chExt cx="97271" cy="1805187"/>
          </a:xfrm>
        </p:grpSpPr>
        <p:grpSp>
          <p:nvGrpSpPr>
            <p:cNvPr id="235" name="Google Shape;235;p26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236" name="Google Shape;236;p26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26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26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26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26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26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26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26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26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26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26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26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6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49" name="Google Shape;249;p26"/>
            <p:cNvSpPr txBox="1"/>
            <p:nvPr/>
          </p:nvSpPr>
          <p:spPr>
            <a:xfrm rot="-5400000">
              <a:off x="9886053" y="6107266"/>
              <a:ext cx="1362552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 All rights reserved.</a:t>
              </a:r>
              <a:endParaRPr/>
            </a:p>
          </p:txBody>
        </p: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Plain White">
  <p:cSld name="1_Plain White">
    <p:bg>
      <p:bgPr>
        <a:solidFill>
          <a:schemeClr val="lt2"/>
        </a:solidFill>
        <a:effectLst/>
      </p:bgPr>
    </p:bg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1" name="Google Shape;251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" y="0"/>
            <a:ext cx="10691813" cy="7559675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p27"/>
          <p:cNvSpPr/>
          <p:nvPr/>
        </p:nvSpPr>
        <p:spPr>
          <a:xfrm>
            <a:off x="4" y="0"/>
            <a:ext cx="2352503" cy="7559675"/>
          </a:xfrm>
          <a:prstGeom prst="rect">
            <a:avLst/>
          </a:prstGeom>
          <a:solidFill>
            <a:schemeClr val="lt2">
              <a:alpha val="6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7"/>
          <p:cNvSpPr/>
          <p:nvPr/>
        </p:nvSpPr>
        <p:spPr>
          <a:xfrm>
            <a:off x="3" y="4346090"/>
            <a:ext cx="9466726" cy="2127614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>
                  <a:alpha val="89803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27"/>
          <p:cNvSpPr txBox="1">
            <a:spLocks noGrp="1"/>
          </p:cNvSpPr>
          <p:nvPr>
            <p:ph type="sldNum" idx="12"/>
          </p:nvPr>
        </p:nvSpPr>
        <p:spPr>
          <a:xfrm>
            <a:off x="10091712" y="7135971"/>
            <a:ext cx="117019" cy="121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255" name="Google Shape;255;p27"/>
          <p:cNvSpPr txBox="1"/>
          <p:nvPr/>
        </p:nvSpPr>
        <p:spPr>
          <a:xfrm rot="-5400000">
            <a:off x="9798050" y="6272166"/>
            <a:ext cx="1545295" cy="85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IN" sz="614" b="0" i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Infomineo Copyright © 2022. All rights reserved.</a:t>
            </a:r>
            <a:endParaRPr/>
          </a:p>
        </p:txBody>
      </p:sp>
      <p:sp>
        <p:nvSpPr>
          <p:cNvPr id="256" name="Google Shape;256;p27"/>
          <p:cNvSpPr txBox="1"/>
          <p:nvPr/>
        </p:nvSpPr>
        <p:spPr>
          <a:xfrm>
            <a:off x="10091711" y="7135972"/>
            <a:ext cx="117020" cy="121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789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257;p27"/>
          <p:cNvSpPr txBox="1">
            <a:spLocks noGrp="1"/>
          </p:cNvSpPr>
          <p:nvPr>
            <p:ph type="title"/>
          </p:nvPr>
        </p:nvSpPr>
        <p:spPr>
          <a:xfrm>
            <a:off x="646836" y="5107144"/>
            <a:ext cx="7449629" cy="573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85"/>
              <a:buFont typeface="Franklin Gothic"/>
              <a:buNone/>
              <a:defRPr sz="4385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28"/>
          <p:cNvSpPr/>
          <p:nvPr/>
        </p:nvSpPr>
        <p:spPr>
          <a:xfrm>
            <a:off x="0" y="0"/>
            <a:ext cx="10692865" cy="7559675"/>
          </a:xfrm>
          <a:custGeom>
            <a:avLst/>
            <a:gdLst/>
            <a:ahLst/>
            <a:cxnLst/>
            <a:rect l="l" t="t" r="r" b="b"/>
            <a:pathLst>
              <a:path w="10692865" h="7559675" extrusionOk="0">
                <a:moveTo>
                  <a:pt x="482600" y="483079"/>
                </a:moveTo>
                <a:lnTo>
                  <a:pt x="482600" y="7088267"/>
                </a:lnTo>
                <a:lnTo>
                  <a:pt x="10207986" y="7088267"/>
                </a:lnTo>
                <a:lnTo>
                  <a:pt x="10207986" y="6954202"/>
                </a:lnTo>
                <a:lnTo>
                  <a:pt x="10208732" y="6954202"/>
                </a:lnTo>
                <a:lnTo>
                  <a:pt x="10208732" y="605475"/>
                </a:lnTo>
                <a:lnTo>
                  <a:pt x="10207986" y="605475"/>
                </a:lnTo>
                <a:lnTo>
                  <a:pt x="10207986" y="483079"/>
                </a:lnTo>
                <a:close/>
                <a:moveTo>
                  <a:pt x="0" y="0"/>
                </a:moveTo>
                <a:lnTo>
                  <a:pt x="10692865" y="0"/>
                </a:lnTo>
                <a:lnTo>
                  <a:pt x="10692865" y="686522"/>
                </a:lnTo>
                <a:lnTo>
                  <a:pt x="10691813" y="686522"/>
                </a:lnTo>
                <a:lnTo>
                  <a:pt x="10691813" y="6790918"/>
                </a:lnTo>
                <a:lnTo>
                  <a:pt x="10692865" y="6790918"/>
                </a:lnTo>
                <a:lnTo>
                  <a:pt x="10692865" y="7559675"/>
                </a:lnTo>
                <a:lnTo>
                  <a:pt x="10691813" y="7559675"/>
                </a:lnTo>
                <a:lnTo>
                  <a:pt x="10139332" y="7559675"/>
                </a:lnTo>
                <a:lnTo>
                  <a:pt x="552482" y="7559675"/>
                </a:lnTo>
                <a:lnTo>
                  <a:pt x="1" y="7559675"/>
                </a:lnTo>
                <a:lnTo>
                  <a:pt x="1" y="6790918"/>
                </a:lnTo>
                <a:lnTo>
                  <a:pt x="1" y="686522"/>
                </a:lnTo>
                <a:lnTo>
                  <a:pt x="0" y="686522"/>
                </a:lnTo>
                <a:close/>
              </a:path>
            </a:pathLst>
          </a:custGeom>
          <a:solidFill>
            <a:srgbClr val="FF0000">
              <a:alpha val="4705"/>
            </a:srgbClr>
          </a:solidFill>
          <a:ln>
            <a:noFill/>
          </a:ln>
        </p:spPr>
        <p:txBody>
          <a:bodyPr spcFirstLastPara="1" wrap="square" lIns="80175" tIns="40075" rIns="80175" bIns="400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60" name="Google Shape;260;p28"/>
          <p:cNvGrpSpPr/>
          <p:nvPr/>
        </p:nvGrpSpPr>
        <p:grpSpPr>
          <a:xfrm>
            <a:off x="-523" y="483080"/>
            <a:ext cx="10692865" cy="6593515"/>
            <a:chOff x="-523" y="483080"/>
            <a:chExt cx="10692865" cy="6593515"/>
          </a:xfrm>
        </p:grpSpPr>
        <p:cxnSp>
          <p:nvCxnSpPr>
            <p:cNvPr id="261" name="Google Shape;261;p28"/>
            <p:cNvCxnSpPr/>
            <p:nvPr/>
          </p:nvCxnSpPr>
          <p:spPr>
            <a:xfrm>
              <a:off x="-523" y="48308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2" name="Google Shape;262;p28"/>
            <p:cNvCxnSpPr/>
            <p:nvPr/>
          </p:nvCxnSpPr>
          <p:spPr>
            <a:xfrm>
              <a:off x="-523" y="108249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3" name="Google Shape;263;p28"/>
            <p:cNvCxnSpPr/>
            <p:nvPr/>
          </p:nvCxnSpPr>
          <p:spPr>
            <a:xfrm>
              <a:off x="-523" y="138219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4" name="Google Shape;264;p28"/>
            <p:cNvCxnSpPr/>
            <p:nvPr/>
          </p:nvCxnSpPr>
          <p:spPr>
            <a:xfrm>
              <a:off x="-523" y="168190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5" name="Google Shape;265;p28"/>
            <p:cNvCxnSpPr/>
            <p:nvPr/>
          </p:nvCxnSpPr>
          <p:spPr>
            <a:xfrm>
              <a:off x="-523" y="198160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6" name="Google Shape;266;p28"/>
            <p:cNvCxnSpPr/>
            <p:nvPr/>
          </p:nvCxnSpPr>
          <p:spPr>
            <a:xfrm>
              <a:off x="-523" y="228131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7" name="Google Shape;267;p28"/>
            <p:cNvCxnSpPr/>
            <p:nvPr/>
          </p:nvCxnSpPr>
          <p:spPr>
            <a:xfrm>
              <a:off x="-523" y="258101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8" name="Google Shape;268;p28"/>
            <p:cNvCxnSpPr/>
            <p:nvPr/>
          </p:nvCxnSpPr>
          <p:spPr>
            <a:xfrm>
              <a:off x="-523" y="288072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9" name="Google Shape;269;p28"/>
            <p:cNvCxnSpPr/>
            <p:nvPr/>
          </p:nvCxnSpPr>
          <p:spPr>
            <a:xfrm>
              <a:off x="-523" y="318042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0" name="Google Shape;270;p28"/>
            <p:cNvCxnSpPr/>
            <p:nvPr/>
          </p:nvCxnSpPr>
          <p:spPr>
            <a:xfrm>
              <a:off x="-523" y="348013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1" name="Google Shape;271;p28"/>
            <p:cNvCxnSpPr/>
            <p:nvPr/>
          </p:nvCxnSpPr>
          <p:spPr>
            <a:xfrm>
              <a:off x="-523" y="377983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2" name="Google Shape;272;p28"/>
            <p:cNvCxnSpPr/>
            <p:nvPr/>
          </p:nvCxnSpPr>
          <p:spPr>
            <a:xfrm>
              <a:off x="-523" y="407954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3" name="Google Shape;273;p28"/>
            <p:cNvCxnSpPr/>
            <p:nvPr/>
          </p:nvCxnSpPr>
          <p:spPr>
            <a:xfrm>
              <a:off x="-523" y="437924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4" name="Google Shape;274;p28"/>
            <p:cNvCxnSpPr/>
            <p:nvPr/>
          </p:nvCxnSpPr>
          <p:spPr>
            <a:xfrm>
              <a:off x="-523" y="467895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5" name="Google Shape;275;p28"/>
            <p:cNvCxnSpPr/>
            <p:nvPr/>
          </p:nvCxnSpPr>
          <p:spPr>
            <a:xfrm>
              <a:off x="-523" y="497865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6" name="Google Shape;276;p28"/>
            <p:cNvCxnSpPr/>
            <p:nvPr/>
          </p:nvCxnSpPr>
          <p:spPr>
            <a:xfrm>
              <a:off x="-523" y="527836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7" name="Google Shape;277;p28"/>
            <p:cNvCxnSpPr/>
            <p:nvPr/>
          </p:nvCxnSpPr>
          <p:spPr>
            <a:xfrm>
              <a:off x="-523" y="557806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8" name="Google Shape;278;p28"/>
            <p:cNvCxnSpPr/>
            <p:nvPr/>
          </p:nvCxnSpPr>
          <p:spPr>
            <a:xfrm>
              <a:off x="-523" y="587777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9" name="Google Shape;279;p28"/>
            <p:cNvCxnSpPr/>
            <p:nvPr/>
          </p:nvCxnSpPr>
          <p:spPr>
            <a:xfrm>
              <a:off x="-523" y="617747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0" name="Google Shape;280;p28"/>
            <p:cNvCxnSpPr/>
            <p:nvPr/>
          </p:nvCxnSpPr>
          <p:spPr>
            <a:xfrm>
              <a:off x="-523" y="647718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1" name="Google Shape;281;p28"/>
            <p:cNvCxnSpPr/>
            <p:nvPr/>
          </p:nvCxnSpPr>
          <p:spPr>
            <a:xfrm>
              <a:off x="-523" y="78278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2" name="Google Shape;282;p28"/>
            <p:cNvCxnSpPr/>
            <p:nvPr/>
          </p:nvCxnSpPr>
          <p:spPr>
            <a:xfrm>
              <a:off x="-523" y="707659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3" name="Google Shape;283;p28"/>
            <p:cNvCxnSpPr/>
            <p:nvPr/>
          </p:nvCxnSpPr>
          <p:spPr>
            <a:xfrm>
              <a:off x="-523" y="677688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84" name="Google Shape;284;p28"/>
          <p:cNvSpPr/>
          <p:nvPr/>
        </p:nvSpPr>
        <p:spPr>
          <a:xfrm>
            <a:off x="482555" y="7088276"/>
            <a:ext cx="9726176" cy="288585"/>
          </a:xfrm>
          <a:prstGeom prst="rect">
            <a:avLst/>
          </a:prstGeom>
          <a:solidFill>
            <a:srgbClr val="FF0000">
              <a:alpha val="9803"/>
            </a:srgbClr>
          </a:solidFill>
          <a:ln>
            <a:noFill/>
          </a:ln>
        </p:spPr>
        <p:txBody>
          <a:bodyPr spcFirstLastPara="1" wrap="square" lIns="80175" tIns="40075" rIns="80175" bIns="400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" name="Google Shape;285;p28"/>
          <p:cNvSpPr/>
          <p:nvPr/>
        </p:nvSpPr>
        <p:spPr>
          <a:xfrm>
            <a:off x="483082" y="1391828"/>
            <a:ext cx="9739052" cy="600004"/>
          </a:xfrm>
          <a:prstGeom prst="rect">
            <a:avLst/>
          </a:prstGeom>
          <a:solidFill>
            <a:srgbClr val="FF0000">
              <a:alpha val="4705"/>
            </a:srgbClr>
          </a:solidFill>
          <a:ln>
            <a:noFill/>
          </a:ln>
        </p:spPr>
        <p:txBody>
          <a:bodyPr spcFirstLastPara="1" wrap="square" lIns="80175" tIns="40075" rIns="80175" bIns="400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86" name="Google Shape;286;p28"/>
          <p:cNvGrpSpPr/>
          <p:nvPr/>
        </p:nvGrpSpPr>
        <p:grpSpPr>
          <a:xfrm>
            <a:off x="1065795" y="1991832"/>
            <a:ext cx="8561694" cy="5096444"/>
            <a:chOff x="1215339" y="549274"/>
            <a:chExt cx="9763000" cy="5759450"/>
          </a:xfrm>
        </p:grpSpPr>
        <p:sp>
          <p:nvSpPr>
            <p:cNvPr id="287" name="Google Shape;287;p28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28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89;p28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90;p28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28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92;p28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93;p28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94;p28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95;p28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96;p28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97;p28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8" name="Google Shape;298;p28"/>
          <p:cNvSpPr txBox="1"/>
          <p:nvPr/>
        </p:nvSpPr>
        <p:spPr>
          <a:xfrm>
            <a:off x="483080" y="7127843"/>
            <a:ext cx="7919690" cy="243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77"/>
              <a:buFont typeface="Calibri"/>
              <a:buNone/>
            </a:pPr>
            <a:r>
              <a:rPr lang="en-IN"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77"/>
              <a:buFont typeface="Calibri"/>
              <a:buNone/>
            </a:pPr>
            <a:r>
              <a:rPr lang="en-IN"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/>
          </a:p>
        </p:txBody>
      </p:sp>
      <p:sp>
        <p:nvSpPr>
          <p:cNvPr id="299" name="Google Shape;299;p28"/>
          <p:cNvSpPr txBox="1">
            <a:spLocks noGrp="1"/>
          </p:cNvSpPr>
          <p:nvPr>
            <p:ph type="sldNum" idx="12"/>
          </p:nvPr>
        </p:nvSpPr>
        <p:spPr>
          <a:xfrm>
            <a:off x="10075418" y="7235885"/>
            <a:ext cx="133050" cy="134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300" name="Google Shape;300;p28"/>
          <p:cNvSpPr txBox="1">
            <a:spLocks noGrp="1"/>
          </p:cNvSpPr>
          <p:nvPr>
            <p:ph type="title"/>
          </p:nvPr>
        </p:nvSpPr>
        <p:spPr>
          <a:xfrm>
            <a:off x="482600" y="499818"/>
            <a:ext cx="9725867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1" name="Google Shape;301;p28"/>
          <p:cNvGrpSpPr/>
          <p:nvPr/>
        </p:nvGrpSpPr>
        <p:grpSpPr>
          <a:xfrm>
            <a:off x="483085" y="6894071"/>
            <a:ext cx="9725385" cy="60847"/>
            <a:chOff x="550864" y="6156603"/>
            <a:chExt cx="11089971" cy="55199"/>
          </a:xfrm>
        </p:grpSpPr>
        <p:sp>
          <p:nvSpPr>
            <p:cNvPr id="302" name="Google Shape;302;p28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303;p28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304;p28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28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306;p28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307" name="Google Shape;307;p28"/>
          <p:cNvCxnSpPr/>
          <p:nvPr/>
        </p:nvCxnSpPr>
        <p:spPr>
          <a:xfrm>
            <a:off x="473028" y="416190"/>
            <a:ext cx="473555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8" name="Google Shape;308;p28"/>
          <p:cNvGrpSpPr/>
          <p:nvPr/>
        </p:nvGrpSpPr>
        <p:grpSpPr>
          <a:xfrm>
            <a:off x="10518694" y="5524364"/>
            <a:ext cx="97271" cy="1816409"/>
            <a:chOff x="10518694" y="5463404"/>
            <a:chExt cx="97271" cy="1816408"/>
          </a:xfrm>
        </p:grpSpPr>
        <p:grpSp>
          <p:nvGrpSpPr>
            <p:cNvPr id="309" name="Google Shape;309;p28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310" name="Google Shape;310;p28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28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28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28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28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28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28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28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28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28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28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28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28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23" name="Google Shape;323;p28"/>
            <p:cNvSpPr txBox="1"/>
            <p:nvPr/>
          </p:nvSpPr>
          <p:spPr>
            <a:xfrm rot="-5400000">
              <a:off x="9874832" y="6107266"/>
              <a:ext cx="1384995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/>
            </a:p>
          </p:txBody>
        </p:sp>
        <p:pic>
          <p:nvPicPr>
            <p:cNvPr id="324" name="Google Shape;324;p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0361309" y="7048329"/>
              <a:ext cx="400614" cy="62353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3)">
  <p:cSld name="Title Slide (Option 3)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Google Shape;69;p11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10467" t="6401" r="10469" b="6358"/>
          <a:stretch/>
        </p:blipFill>
        <p:spPr>
          <a:xfrm>
            <a:off x="482600" y="484188"/>
            <a:ext cx="9726613" cy="6594475"/>
          </a:xfrm>
          <a:prstGeom prst="rect">
            <a:avLst/>
          </a:prstGeom>
          <a:noFill/>
          <a:ln>
            <a:noFill/>
          </a:ln>
        </p:spPr>
      </p:pic>
      <p:sp>
        <p:nvSpPr>
          <p:cNvPr id="70" name="Google Shape;70;p11"/>
          <p:cNvSpPr/>
          <p:nvPr/>
        </p:nvSpPr>
        <p:spPr>
          <a:xfrm>
            <a:off x="965199" y="965200"/>
            <a:ext cx="5916987" cy="6594475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803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" name="Google Shape;71;p11"/>
          <p:cNvSpPr txBox="1">
            <a:spLocks noGrp="1"/>
          </p:cNvSpPr>
          <p:nvPr>
            <p:ph type="ctrTitle"/>
          </p:nvPr>
        </p:nvSpPr>
        <p:spPr>
          <a:xfrm>
            <a:off x="1431143" y="4012444"/>
            <a:ext cx="4869319" cy="1090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1"/>
          <p:cNvSpPr txBox="1">
            <a:spLocks noGrp="1"/>
          </p:cNvSpPr>
          <p:nvPr>
            <p:ph type="subTitle" idx="1"/>
          </p:nvPr>
        </p:nvSpPr>
        <p:spPr>
          <a:xfrm>
            <a:off x="1431143" y="5169224"/>
            <a:ext cx="4869319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lvl="4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3" name="Google Shape;73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431143" y="1469422"/>
            <a:ext cx="2752975" cy="621246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Google Shape;74;p11"/>
          <p:cNvSpPr txBox="1">
            <a:spLocks noGrp="1"/>
          </p:cNvSpPr>
          <p:nvPr>
            <p:ph type="dt" idx="10"/>
          </p:nvPr>
        </p:nvSpPr>
        <p:spPr>
          <a:xfrm>
            <a:off x="1431143" y="6529774"/>
            <a:ext cx="1550746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4)">
  <p:cSld name="Title Slide (Option 4)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Google Shape;76;p12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6544" t="14186" r="6545" b="8000"/>
          <a:stretch/>
        </p:blipFill>
        <p:spPr>
          <a:xfrm>
            <a:off x="0" y="1677776"/>
            <a:ext cx="10691813" cy="5881899"/>
          </a:xfrm>
          <a:prstGeom prst="rect">
            <a:avLst/>
          </a:prstGeom>
          <a:noFill/>
          <a:ln>
            <a:noFill/>
          </a:ln>
        </p:spPr>
      </p:pic>
      <p:sp>
        <p:nvSpPr>
          <p:cNvPr id="77" name="Google Shape;77;p12"/>
          <p:cNvSpPr/>
          <p:nvPr/>
        </p:nvSpPr>
        <p:spPr>
          <a:xfrm>
            <a:off x="470439" y="0"/>
            <a:ext cx="6410277" cy="6954202"/>
          </a:xfrm>
          <a:prstGeom prst="rect">
            <a:avLst/>
          </a:prstGeom>
          <a:gradFill>
            <a:gsLst>
              <a:gs pos="0">
                <a:srgbClr val="062379"/>
              </a:gs>
              <a:gs pos="39000">
                <a:srgbClr val="0934B6">
                  <a:alpha val="94901"/>
                </a:srgbClr>
              </a:gs>
              <a:gs pos="7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3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" name="Google Shape;78;p12"/>
          <p:cNvSpPr txBox="1">
            <a:spLocks noGrp="1"/>
          </p:cNvSpPr>
          <p:nvPr>
            <p:ph type="ctrTitle"/>
          </p:nvPr>
        </p:nvSpPr>
        <p:spPr>
          <a:xfrm>
            <a:off x="933087" y="3647478"/>
            <a:ext cx="5512036" cy="1090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subTitle" idx="1"/>
          </p:nvPr>
        </p:nvSpPr>
        <p:spPr>
          <a:xfrm>
            <a:off x="933087" y="4804261"/>
            <a:ext cx="5512036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lvl="4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0" name="Google Shape;80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33087" y="502949"/>
            <a:ext cx="2982150" cy="672963"/>
          </a:xfrm>
          <a:prstGeom prst="rect">
            <a:avLst/>
          </a:prstGeom>
          <a:noFill/>
          <a:ln>
            <a:noFill/>
          </a:ln>
        </p:spPr>
      </p:pic>
      <p:sp>
        <p:nvSpPr>
          <p:cNvPr id="81" name="Google Shape;81;p12"/>
          <p:cNvSpPr txBox="1">
            <a:spLocks noGrp="1"/>
          </p:cNvSpPr>
          <p:nvPr>
            <p:ph type="dt" idx="10"/>
          </p:nvPr>
        </p:nvSpPr>
        <p:spPr>
          <a:xfrm>
            <a:off x="921225" y="6344579"/>
            <a:ext cx="1550746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Grey background)">
  <p:cSld name="Title only (Grey background)">
    <p:bg>
      <p:bgPr>
        <a:solidFill>
          <a:schemeClr val="lt2"/>
        </a:solidFill>
        <a:effectLst/>
      </p:bgPr>
    </p:bg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15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9725386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15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836768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15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lumn Layout">
  <p:cSld name="4 Column Layout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17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9725386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17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371897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7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124" name="Google Shape;124;p17"/>
          <p:cNvSpPr txBox="1">
            <a:spLocks noGrp="1"/>
          </p:cNvSpPr>
          <p:nvPr>
            <p:ph type="body" idx="1"/>
          </p:nvPr>
        </p:nvSpPr>
        <p:spPr>
          <a:xfrm>
            <a:off x="483083" y="2330619"/>
            <a:ext cx="2244541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None/>
              <a:defRPr/>
            </a:lvl1pPr>
            <a:lvl2pPr marL="914400" lvl="1" indent="-30878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3"/>
              <a:buChar char="▪"/>
              <a:defRPr/>
            </a:lvl2pPr>
            <a:lvl3pPr marL="1371600" lvl="2" indent="-2286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3"/>
              <a:buNone/>
              <a:defRPr sz="1403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781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3"/>
              <a:buChar char="•"/>
              <a:defRPr/>
            </a:lvl4pPr>
            <a:lvl5pPr marL="2286000" lvl="4" indent="-31769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3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17"/>
          <p:cNvSpPr txBox="1">
            <a:spLocks noGrp="1"/>
          </p:cNvSpPr>
          <p:nvPr>
            <p:ph type="body" idx="2"/>
          </p:nvPr>
        </p:nvSpPr>
        <p:spPr>
          <a:xfrm>
            <a:off x="483083" y="1979613"/>
            <a:ext cx="2244541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17"/>
          <p:cNvSpPr txBox="1">
            <a:spLocks noGrp="1"/>
          </p:cNvSpPr>
          <p:nvPr>
            <p:ph type="body" idx="3"/>
          </p:nvPr>
        </p:nvSpPr>
        <p:spPr>
          <a:xfrm>
            <a:off x="5472598" y="2330619"/>
            <a:ext cx="2240506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None/>
              <a:defRPr/>
            </a:lvl1pPr>
            <a:lvl2pPr marL="914400" lvl="1" indent="-30878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3"/>
              <a:buChar char="▪"/>
              <a:defRPr/>
            </a:lvl2pPr>
            <a:lvl3pPr marL="1371600" lvl="2" indent="-31769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3"/>
              <a:buChar char="−"/>
              <a:defRPr/>
            </a:lvl3pPr>
            <a:lvl4pPr marL="1828800" lvl="3" indent="-308781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3"/>
              <a:buChar char="•"/>
              <a:defRPr/>
            </a:lvl4pPr>
            <a:lvl5pPr marL="2286000" lvl="4" indent="-31769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3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" name="Google Shape;127;p17"/>
          <p:cNvSpPr txBox="1">
            <a:spLocks noGrp="1"/>
          </p:cNvSpPr>
          <p:nvPr>
            <p:ph type="body" idx="4"/>
          </p:nvPr>
        </p:nvSpPr>
        <p:spPr>
          <a:xfrm>
            <a:off x="5472598" y="1979613"/>
            <a:ext cx="224050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17"/>
          <p:cNvSpPr txBox="1">
            <a:spLocks noGrp="1"/>
          </p:cNvSpPr>
          <p:nvPr>
            <p:ph type="body" idx="5"/>
          </p:nvPr>
        </p:nvSpPr>
        <p:spPr>
          <a:xfrm>
            <a:off x="2977838" y="2330619"/>
            <a:ext cx="2244541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None/>
              <a:defRPr/>
            </a:lvl1pPr>
            <a:lvl2pPr marL="914400" lvl="1" indent="-30878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3"/>
              <a:buChar char="▪"/>
              <a:defRPr/>
            </a:lvl2pPr>
            <a:lvl3pPr marL="1371600" lvl="2" indent="-2286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3"/>
              <a:buNone/>
              <a:defRPr sz="1403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781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3"/>
              <a:buChar char="•"/>
              <a:defRPr/>
            </a:lvl4pPr>
            <a:lvl5pPr marL="2286000" lvl="4" indent="-31769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3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17"/>
          <p:cNvSpPr txBox="1">
            <a:spLocks noGrp="1"/>
          </p:cNvSpPr>
          <p:nvPr>
            <p:ph type="body" idx="6"/>
          </p:nvPr>
        </p:nvSpPr>
        <p:spPr>
          <a:xfrm>
            <a:off x="2977838" y="1979613"/>
            <a:ext cx="2244541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17"/>
          <p:cNvSpPr txBox="1">
            <a:spLocks noGrp="1"/>
          </p:cNvSpPr>
          <p:nvPr>
            <p:ph type="body" idx="7"/>
          </p:nvPr>
        </p:nvSpPr>
        <p:spPr>
          <a:xfrm>
            <a:off x="7968227" y="2330619"/>
            <a:ext cx="2240506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None/>
              <a:defRPr/>
            </a:lvl1pPr>
            <a:lvl2pPr marL="914400" lvl="1" indent="-30878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3"/>
              <a:buChar char="▪"/>
              <a:defRPr/>
            </a:lvl2pPr>
            <a:lvl3pPr marL="1371600" lvl="2" indent="-31769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3"/>
              <a:buChar char="−"/>
              <a:defRPr/>
            </a:lvl3pPr>
            <a:lvl4pPr marL="1828800" lvl="3" indent="-308781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3"/>
              <a:buChar char="•"/>
              <a:defRPr/>
            </a:lvl4pPr>
            <a:lvl5pPr marL="2286000" lvl="4" indent="-31769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3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17"/>
          <p:cNvSpPr txBox="1">
            <a:spLocks noGrp="1"/>
          </p:cNvSpPr>
          <p:nvPr>
            <p:ph type="body" idx="8"/>
          </p:nvPr>
        </p:nvSpPr>
        <p:spPr>
          <a:xfrm>
            <a:off x="7968227" y="1979613"/>
            <a:ext cx="224050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 Layout">
  <p:cSld name="5 Column Layout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18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9725386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8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371897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18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136" name="Google Shape;136;p18"/>
          <p:cNvSpPr txBox="1">
            <a:spLocks noGrp="1"/>
          </p:cNvSpPr>
          <p:nvPr>
            <p:ph type="body" idx="1"/>
          </p:nvPr>
        </p:nvSpPr>
        <p:spPr>
          <a:xfrm>
            <a:off x="483082" y="2330619"/>
            <a:ext cx="1739524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0"/>
              <a:buChar char="•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" name="Google Shape;137;p18"/>
          <p:cNvSpPr txBox="1">
            <a:spLocks noGrp="1"/>
          </p:cNvSpPr>
          <p:nvPr>
            <p:ph type="body" idx="2"/>
          </p:nvPr>
        </p:nvSpPr>
        <p:spPr>
          <a:xfrm>
            <a:off x="483082" y="1979613"/>
            <a:ext cx="173952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18"/>
          <p:cNvSpPr txBox="1">
            <a:spLocks noGrp="1"/>
          </p:cNvSpPr>
          <p:nvPr>
            <p:ph type="body" idx="3"/>
          </p:nvPr>
        </p:nvSpPr>
        <p:spPr>
          <a:xfrm>
            <a:off x="4476015" y="2330619"/>
            <a:ext cx="1736397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0"/>
              <a:buChar char="•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18"/>
          <p:cNvSpPr txBox="1">
            <a:spLocks noGrp="1"/>
          </p:cNvSpPr>
          <p:nvPr>
            <p:ph type="body" idx="4"/>
          </p:nvPr>
        </p:nvSpPr>
        <p:spPr>
          <a:xfrm>
            <a:off x="4476015" y="1979613"/>
            <a:ext cx="1736397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" name="Google Shape;140;p18"/>
          <p:cNvSpPr txBox="1">
            <a:spLocks noGrp="1"/>
          </p:cNvSpPr>
          <p:nvPr>
            <p:ph type="body" idx="5"/>
          </p:nvPr>
        </p:nvSpPr>
        <p:spPr>
          <a:xfrm>
            <a:off x="2479548" y="2330619"/>
            <a:ext cx="1739524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0"/>
              <a:buChar char="•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" name="Google Shape;141;p18"/>
          <p:cNvSpPr txBox="1">
            <a:spLocks noGrp="1"/>
          </p:cNvSpPr>
          <p:nvPr>
            <p:ph type="body" idx="6"/>
          </p:nvPr>
        </p:nvSpPr>
        <p:spPr>
          <a:xfrm>
            <a:off x="2479548" y="1979613"/>
            <a:ext cx="173952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" name="Google Shape;142;p18"/>
          <p:cNvSpPr txBox="1">
            <a:spLocks noGrp="1"/>
          </p:cNvSpPr>
          <p:nvPr>
            <p:ph type="body" idx="7"/>
          </p:nvPr>
        </p:nvSpPr>
        <p:spPr>
          <a:xfrm>
            <a:off x="6472478" y="2330619"/>
            <a:ext cx="1736397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0"/>
              <a:buChar char="•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18"/>
          <p:cNvSpPr txBox="1">
            <a:spLocks noGrp="1"/>
          </p:cNvSpPr>
          <p:nvPr>
            <p:ph type="body" idx="8"/>
          </p:nvPr>
        </p:nvSpPr>
        <p:spPr>
          <a:xfrm>
            <a:off x="6472478" y="1979613"/>
            <a:ext cx="1736397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18"/>
          <p:cNvSpPr txBox="1">
            <a:spLocks noGrp="1"/>
          </p:cNvSpPr>
          <p:nvPr>
            <p:ph type="body" idx="9"/>
          </p:nvPr>
        </p:nvSpPr>
        <p:spPr>
          <a:xfrm>
            <a:off x="8472070" y="2330619"/>
            <a:ext cx="1736397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0"/>
              <a:buChar char="•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18"/>
          <p:cNvSpPr txBox="1">
            <a:spLocks noGrp="1"/>
          </p:cNvSpPr>
          <p:nvPr>
            <p:ph type="body" idx="13"/>
          </p:nvPr>
        </p:nvSpPr>
        <p:spPr>
          <a:xfrm>
            <a:off x="8472070" y="1979613"/>
            <a:ext cx="1736397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ustom Layout">
  <p:cSld name="9_Custom Layout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20"/>
          <p:cNvSpPr/>
          <p:nvPr/>
        </p:nvSpPr>
        <p:spPr>
          <a:xfrm>
            <a:off x="0" y="-1"/>
            <a:ext cx="3560233" cy="7559674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" name="Google Shape;154;p20"/>
          <p:cNvSpPr txBox="1">
            <a:spLocks noGrp="1"/>
          </p:cNvSpPr>
          <p:nvPr>
            <p:ph type="title"/>
          </p:nvPr>
        </p:nvSpPr>
        <p:spPr>
          <a:xfrm>
            <a:off x="481654" y="484188"/>
            <a:ext cx="2698535" cy="12557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20"/>
          <p:cNvSpPr txBox="1">
            <a:spLocks noGrp="1"/>
          </p:cNvSpPr>
          <p:nvPr>
            <p:ph type="ftr" idx="11"/>
          </p:nvPr>
        </p:nvSpPr>
        <p:spPr>
          <a:xfrm>
            <a:off x="3814375" y="7135906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56" name="Google Shape;156;p20"/>
          <p:cNvCxnSpPr/>
          <p:nvPr/>
        </p:nvCxnSpPr>
        <p:spPr>
          <a:xfrm>
            <a:off x="473028" y="383916"/>
            <a:ext cx="473555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ustom Layout">
  <p:cSld name="4_Custom Layout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1"/>
          <p:cNvSpPr/>
          <p:nvPr/>
        </p:nvSpPr>
        <p:spPr>
          <a:xfrm>
            <a:off x="4" y="-1"/>
            <a:ext cx="5348131" cy="7559674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" name="Google Shape;159;p21"/>
          <p:cNvSpPr txBox="1">
            <a:spLocks noGrp="1"/>
          </p:cNvSpPr>
          <p:nvPr>
            <p:ph type="title"/>
          </p:nvPr>
        </p:nvSpPr>
        <p:spPr>
          <a:xfrm>
            <a:off x="481651" y="484188"/>
            <a:ext cx="4722740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21"/>
          <p:cNvSpPr txBox="1">
            <a:spLocks noGrp="1"/>
          </p:cNvSpPr>
          <p:nvPr>
            <p:ph type="ftr" idx="11"/>
          </p:nvPr>
        </p:nvSpPr>
        <p:spPr>
          <a:xfrm>
            <a:off x="496480" y="7135906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61" name="Google Shape;161;p21"/>
          <p:cNvCxnSpPr/>
          <p:nvPr/>
        </p:nvCxnSpPr>
        <p:spPr>
          <a:xfrm>
            <a:off x="473028" y="383916"/>
            <a:ext cx="473555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ustom Layout">
  <p:cSld name="3_Custom Layout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2"/>
          <p:cNvSpPr/>
          <p:nvPr/>
        </p:nvSpPr>
        <p:spPr>
          <a:xfrm>
            <a:off x="0" y="-1"/>
            <a:ext cx="3560233" cy="7559674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" name="Google Shape;164;p22"/>
          <p:cNvSpPr txBox="1">
            <a:spLocks noGrp="1"/>
          </p:cNvSpPr>
          <p:nvPr>
            <p:ph type="title"/>
          </p:nvPr>
        </p:nvSpPr>
        <p:spPr>
          <a:xfrm>
            <a:off x="496479" y="3151972"/>
            <a:ext cx="2659330" cy="12557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22"/>
          <p:cNvSpPr txBox="1">
            <a:spLocks noGrp="1"/>
          </p:cNvSpPr>
          <p:nvPr>
            <p:ph type="ftr" idx="11"/>
          </p:nvPr>
        </p:nvSpPr>
        <p:spPr>
          <a:xfrm>
            <a:off x="3814375" y="7135906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DD15171D-2087-E77C-315C-571CEF056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914518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8" imgW="425" imgH="424" progId="TCLayout.ActiveDocument.1">
                  <p:embed/>
                </p:oleObj>
              </mc:Choice>
              <mc:Fallback>
                <p:oleObj name="Diapositive think-cell" r:id="rId18" imgW="425" imgH="424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DD15171D-2087-E77C-315C-571CEF056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5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9725386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"/>
          <p:cNvSpPr txBox="1">
            <a:spLocks noGrp="1"/>
          </p:cNvSpPr>
          <p:nvPr>
            <p:ph type="body" idx="1"/>
          </p:nvPr>
        </p:nvSpPr>
        <p:spPr>
          <a:xfrm>
            <a:off x="483826" y="1987016"/>
            <a:ext cx="9725387" cy="1141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Font typeface="Arial"/>
              <a:buNone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08781" algn="l" rtl="0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Clr>
                <a:schemeClr val="dk2"/>
              </a:buClr>
              <a:buSzPts val="1263"/>
              <a:buFont typeface="Noto Sans Symbols"/>
              <a:buChar char="▪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7690" algn="l" rtl="0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Clr>
                <a:schemeClr val="dk2"/>
              </a:buClr>
              <a:buSzPts val="1403"/>
              <a:buFont typeface="Calibri"/>
              <a:buChar char="−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08781" algn="l" rtl="0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Clr>
                <a:schemeClr val="dk2"/>
              </a:buClr>
              <a:buSzPts val="1263"/>
              <a:buFont typeface="Arial"/>
              <a:buChar char="•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690" algn="l" rtl="0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Clr>
                <a:schemeClr val="dk2"/>
              </a:buClr>
              <a:buSzPts val="1403"/>
              <a:buFont typeface="Calibri"/>
              <a:buChar char="−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5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5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grpSp>
        <p:nvGrpSpPr>
          <p:cNvPr id="14" name="Google Shape;14;p5"/>
          <p:cNvGrpSpPr/>
          <p:nvPr/>
        </p:nvGrpSpPr>
        <p:grpSpPr>
          <a:xfrm>
            <a:off x="10518694" y="5440544"/>
            <a:ext cx="97271" cy="1816408"/>
            <a:chOff x="10518694" y="5463404"/>
            <a:chExt cx="97271" cy="1816408"/>
          </a:xfrm>
        </p:grpSpPr>
        <p:grpSp>
          <p:nvGrpSpPr>
            <p:cNvPr id="15" name="Google Shape;15;p5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16" name="Google Shape;16;p5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" name="Google Shape;17;p5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" name="Google Shape;18;p5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5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" name="Google Shape;20;p5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" name="Google Shape;21;p5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" name="Google Shape;22;p5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" name="Google Shape;23;p5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" name="Google Shape;24;p5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" name="Google Shape;25;p5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" name="Google Shape;26;p5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" name="Google Shape;27;p5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" name="Google Shape;28;p5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9" name="Google Shape;29;p5"/>
            <p:cNvSpPr txBox="1"/>
            <p:nvPr/>
          </p:nvSpPr>
          <p:spPr>
            <a:xfrm rot="-5400000">
              <a:off x="9874832" y="6107266"/>
              <a:ext cx="1384995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/>
            </a:p>
          </p:txBody>
        </p:sp>
        <p:pic>
          <p:nvPicPr>
            <p:cNvPr id="30" name="Google Shape;30;p5"/>
            <p:cNvPicPr preferRelativeResize="0"/>
            <p:nvPr/>
          </p:nvPicPr>
          <p:blipFill rotWithShape="1">
            <a:blip r:embed="rId20">
              <a:alphaModFix/>
            </a:blip>
            <a:srcRect/>
            <a:stretch/>
          </p:blipFill>
          <p:spPr>
            <a:xfrm rot="-5400000">
              <a:off x="10361309" y="7048329"/>
              <a:ext cx="400614" cy="6235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1" name="Google Shape;31;p5"/>
          <p:cNvSpPr txBox="1"/>
          <p:nvPr/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877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2" name="Google Shape;32;p5"/>
          <p:cNvCxnSpPr/>
          <p:nvPr/>
        </p:nvCxnSpPr>
        <p:spPr>
          <a:xfrm>
            <a:off x="473028" y="416190"/>
            <a:ext cx="473555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8" r:id="rId4"/>
    <p:sldLayoutId id="2147483660" r:id="rId5"/>
    <p:sldLayoutId id="2147483661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5">
          <p15:clr>
            <a:srgbClr val="F26B43"/>
          </p15:clr>
        </p15:guide>
        <p15:guide id="2" pos="304">
          <p15:clr>
            <a:srgbClr val="F26B43"/>
          </p15:clr>
        </p15:guide>
        <p15:guide id="3" pos="6431">
          <p15:clr>
            <a:srgbClr val="F26B43"/>
          </p15:clr>
        </p15:guide>
        <p15:guide id="4" orient="horz" pos="1247">
          <p15:clr>
            <a:srgbClr val="F26B43"/>
          </p15:clr>
        </p15:guide>
        <p15:guide id="5" orient="horz" pos="4459">
          <p15:clr>
            <a:srgbClr val="F26B43"/>
          </p15:clr>
        </p15:guide>
        <p15:guide id="6" pos="3288">
          <p15:clr>
            <a:srgbClr val="F26B43"/>
          </p15:clr>
        </p15:guide>
        <p15:guide id="7" pos="34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3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1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2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oleObject" Target="../embeddings/oleObject8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E4008805-CCBE-758A-653A-D95B4199CD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9210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E4008805-CCBE-758A-653A-D95B4199CD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6" name="Google Shape;1326;p43"/>
          <p:cNvSpPr/>
          <p:nvPr/>
        </p:nvSpPr>
        <p:spPr>
          <a:xfrm>
            <a:off x="7228319" y="1942482"/>
            <a:ext cx="3200400" cy="5032433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30D996D9-5B56-8423-CD93-09FAE298D19E}"/>
              </a:ext>
            </a:extLst>
          </p:cNvPr>
          <p:cNvGrpSpPr/>
          <p:nvPr/>
        </p:nvGrpSpPr>
        <p:grpSpPr>
          <a:xfrm>
            <a:off x="7228319" y="1942481"/>
            <a:ext cx="3200400" cy="605869"/>
            <a:chOff x="7228319" y="1942481"/>
            <a:chExt cx="3200400" cy="605869"/>
          </a:xfrm>
        </p:grpSpPr>
        <p:sp>
          <p:nvSpPr>
            <p:cNvPr id="1337" name="Google Shape;1337;p43"/>
            <p:cNvSpPr/>
            <p:nvPr/>
          </p:nvSpPr>
          <p:spPr>
            <a:xfrm>
              <a:off x="7228319" y="1942481"/>
              <a:ext cx="3200400" cy="605869"/>
            </a:xfrm>
            <a:prstGeom prst="roundRect">
              <a:avLst>
                <a:gd name="adj" fmla="val 20401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800" b="1">
                <a:solidFill>
                  <a:srgbClr val="FFFFFF"/>
                </a:solidFill>
                <a:highlight>
                  <a:srgbClr val="FFFF00"/>
                </a:highlight>
              </a:endParaRPr>
            </a:p>
          </p:txBody>
        </p:sp>
        <p:sp>
          <p:nvSpPr>
            <p:cNvPr id="1338" name="Google Shape;1338;p43"/>
            <p:cNvSpPr txBox="1"/>
            <p:nvPr/>
          </p:nvSpPr>
          <p:spPr>
            <a:xfrm>
              <a:off x="8079785" y="2114610"/>
              <a:ext cx="1497468" cy="2616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algn="ctr">
                <a:lnSpc>
                  <a:spcPct val="85000"/>
                </a:lnSpc>
                <a:buClr>
                  <a:srgbClr val="FFFFFF"/>
                </a:buClr>
                <a:buSzPts val="1800"/>
              </a:pPr>
              <a:r>
                <a:rPr lang="en-US" sz="2000" b="1" dirty="0">
                  <a:solidFill>
                    <a:srgbClr val="FFFFFF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Outcome</a:t>
              </a:r>
              <a:endParaRPr sz="2000" b="1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endParaRPr>
            </a:p>
          </p:txBody>
        </p:sp>
      </p:grpSp>
      <p:sp>
        <p:nvSpPr>
          <p:cNvPr id="1327" name="Google Shape;1327;p43"/>
          <p:cNvSpPr/>
          <p:nvPr/>
        </p:nvSpPr>
        <p:spPr>
          <a:xfrm>
            <a:off x="347503" y="1971647"/>
            <a:ext cx="3200400" cy="5053648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28" name="Google Shape;1328;p43"/>
          <p:cNvSpPr txBox="1"/>
          <p:nvPr/>
        </p:nvSpPr>
        <p:spPr>
          <a:xfrm>
            <a:off x="509918" y="2668648"/>
            <a:ext cx="2847469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just">
              <a:buClr>
                <a:srgbClr val="444444"/>
              </a:buClr>
              <a:buSzPts val="13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client wanted to have an automated Human Resource Dashboard to track, analyze and report on HR KPIs.</a:t>
            </a:r>
            <a:endParaRPr sz="16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algn="just">
              <a:buClr>
                <a:srgbClr val="444444"/>
              </a:buClr>
              <a:buSzPts val="1300"/>
            </a:pPr>
            <a:endParaRPr lang="en-US" sz="16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algn="just">
              <a:buClr>
                <a:srgbClr val="444444"/>
              </a:buClr>
              <a:buSzPts val="13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firm was looking for: </a:t>
            </a:r>
            <a:endParaRPr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50603" indent="-178206" algn="just">
              <a:buSzPts val="1300"/>
            </a:pPr>
            <a:endParaRPr sz="16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330" name="Google Shape;1330;p43"/>
          <p:cNvSpPr txBox="1"/>
          <p:nvPr/>
        </p:nvSpPr>
        <p:spPr>
          <a:xfrm>
            <a:off x="7465055" y="4987335"/>
            <a:ext cx="277168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endParaRPr sz="1200" b="1" dirty="0">
              <a:solidFill>
                <a:srgbClr val="444444"/>
              </a:solidFill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sz="1200" b="1" dirty="0">
                <a:solidFill>
                  <a:srgbClr val="444444"/>
                </a:solidFill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endParaRPr sz="1200" dirty="0"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1" name="Google Shape;1331;p43"/>
          <p:cNvSpPr/>
          <p:nvPr/>
        </p:nvSpPr>
        <p:spPr>
          <a:xfrm>
            <a:off x="347502" y="1971646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2" name="Google Shape;1332;p43"/>
          <p:cNvSpPr txBox="1"/>
          <p:nvPr/>
        </p:nvSpPr>
        <p:spPr>
          <a:xfrm>
            <a:off x="879103" y="2145052"/>
            <a:ext cx="1944686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 Challenge</a:t>
            </a:r>
            <a:endParaRPr sz="2000" dirty="0"/>
          </a:p>
        </p:txBody>
      </p:sp>
      <p:pic>
        <p:nvPicPr>
          <p:cNvPr id="1343" name="Google Shape;1343;p4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661263" y="1029225"/>
            <a:ext cx="744343" cy="672164"/>
          </a:xfrm>
          <a:prstGeom prst="rect">
            <a:avLst/>
          </a:prstGeom>
          <a:noFill/>
          <a:ln>
            <a:noFill/>
          </a:ln>
        </p:spPr>
      </p:pic>
      <p:sp>
        <p:nvSpPr>
          <p:cNvPr id="1344" name="Google Shape;1344;p43"/>
          <p:cNvSpPr txBox="1"/>
          <p:nvPr/>
        </p:nvSpPr>
        <p:spPr>
          <a:xfrm>
            <a:off x="9430725" y="973757"/>
            <a:ext cx="1268475" cy="734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SzPts val="3200"/>
            </a:pP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ASE</a:t>
            </a:r>
            <a:b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TUDY</a:t>
            </a:r>
            <a:endParaRPr sz="1228" dirty="0"/>
          </a:p>
        </p:txBody>
      </p:sp>
      <p:cxnSp>
        <p:nvCxnSpPr>
          <p:cNvPr id="1345" name="Google Shape;1345;p43"/>
          <p:cNvCxnSpPr/>
          <p:nvPr/>
        </p:nvCxnSpPr>
        <p:spPr>
          <a:xfrm>
            <a:off x="8763258" y="1764515"/>
            <a:ext cx="202949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18A06663-A444-F931-9249-AA246F0DE259}"/>
              </a:ext>
            </a:extLst>
          </p:cNvPr>
          <p:cNvGrpSpPr/>
          <p:nvPr/>
        </p:nvGrpSpPr>
        <p:grpSpPr>
          <a:xfrm>
            <a:off x="2717999" y="1883068"/>
            <a:ext cx="760341" cy="785580"/>
            <a:chOff x="2365298" y="1883068"/>
            <a:chExt cx="760341" cy="785580"/>
          </a:xfrm>
        </p:grpSpPr>
        <p:sp>
          <p:nvSpPr>
            <p:cNvPr id="1333" name="Google Shape;1333;p43"/>
            <p:cNvSpPr/>
            <p:nvPr/>
          </p:nvSpPr>
          <p:spPr>
            <a:xfrm>
              <a:off x="2365298" y="1883068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  <p:pic>
          <p:nvPicPr>
            <p:cNvPr id="1349" name="Google Shape;1349;p43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2486251" y="2016640"/>
              <a:ext cx="518435" cy="51843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F6AF0184-D052-4FF5-23C9-C556F346D560}"/>
              </a:ext>
            </a:extLst>
          </p:cNvPr>
          <p:cNvGrpSpPr/>
          <p:nvPr/>
        </p:nvGrpSpPr>
        <p:grpSpPr>
          <a:xfrm>
            <a:off x="555618" y="4258345"/>
            <a:ext cx="2853575" cy="2056527"/>
            <a:chOff x="557230" y="4422202"/>
            <a:chExt cx="2853575" cy="2056527"/>
          </a:xfrm>
        </p:grpSpPr>
        <p:sp>
          <p:nvSpPr>
            <p:cNvPr id="1350" name="Google Shape;1350;p43"/>
            <p:cNvSpPr/>
            <p:nvPr/>
          </p:nvSpPr>
          <p:spPr>
            <a:xfrm>
              <a:off x="557230" y="4449875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60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51" name="Google Shape;1351;p43" descr="Gears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597324" y="4494278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52" name="Google Shape;1352;p43" descr="Arrow circle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597324" y="5144133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53" name="Google Shape;1353;p43"/>
            <p:cNvSpPr/>
            <p:nvPr/>
          </p:nvSpPr>
          <p:spPr>
            <a:xfrm>
              <a:off x="557230" y="5104039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60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54" name="Google Shape;1354;p43"/>
            <p:cNvSpPr/>
            <p:nvPr/>
          </p:nvSpPr>
          <p:spPr>
            <a:xfrm>
              <a:off x="557230" y="5790491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60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55" name="Google Shape;1355;p43" descr="Dollar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597324" y="5855711"/>
              <a:ext cx="320754" cy="27050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56" name="Google Shape;1356;p43"/>
            <p:cNvSpPr txBox="1"/>
            <p:nvPr/>
          </p:nvSpPr>
          <p:spPr>
            <a:xfrm>
              <a:off x="1144940" y="5740065"/>
              <a:ext cx="2265865" cy="7386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r>
                <a:rPr lang="en-US" sz="1600" b="1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Lower cost </a:t>
              </a:r>
              <a:r>
                <a:rPr lang="en-US" sz="1600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than subscribing to a dedicated HR Dashboard tool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58" name="Google Shape;1358;p43"/>
            <p:cNvSpPr txBox="1"/>
            <p:nvPr/>
          </p:nvSpPr>
          <p:spPr>
            <a:xfrm>
              <a:off x="1144940" y="4422202"/>
              <a:ext cx="1937875" cy="4924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r>
                <a:rPr lang="en-US" sz="1600" b="1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Effective and quick </a:t>
              </a:r>
              <a:r>
                <a:rPr lang="en-US" sz="1600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solution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59" name="Google Shape;1359;p43"/>
            <p:cNvSpPr txBox="1"/>
            <p:nvPr/>
          </p:nvSpPr>
          <p:spPr>
            <a:xfrm>
              <a:off x="1144940" y="5029129"/>
              <a:ext cx="2212446" cy="7386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r>
                <a:rPr lang="en-US" sz="1600" b="1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Smooth integration </a:t>
              </a:r>
              <a:r>
                <a:rPr lang="en-US" sz="1600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with its existing ERPs 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buSzPts val="1400"/>
              </a:pP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379" name="Google Shape;1379;p43"/>
          <p:cNvSpPr txBox="1"/>
          <p:nvPr/>
        </p:nvSpPr>
        <p:spPr>
          <a:xfrm>
            <a:off x="7356832" y="2668648"/>
            <a:ext cx="2987478" cy="38779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client benefited from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Infomineo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Data Analytics service on multiple fronts: </a:t>
            </a:r>
          </a:p>
          <a:p>
            <a:pPr>
              <a:buClr>
                <a:srgbClr val="444444"/>
              </a:buClr>
              <a:buSzPts val="1300"/>
            </a:pPr>
            <a:endParaRPr lang="en-US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 stable and reliable data corrected in the ERPs :</a:t>
            </a:r>
            <a:endParaRPr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50603" indent="-250603">
              <a:buClr>
                <a:srgbClr val="444444"/>
              </a:buClr>
              <a:buSzPts val="1300"/>
              <a:buFont typeface="Arial"/>
              <a:buChar char="•"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anual files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were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not used anymore</a:t>
            </a:r>
            <a:endParaRPr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50603" indent="-250603">
              <a:buClr>
                <a:srgbClr val="444444"/>
              </a:buClr>
              <a:buSzPts val="1300"/>
              <a:buFont typeface="Arial"/>
              <a:buChar char="•"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ta Quality improved by 75% </a:t>
            </a:r>
            <a:r>
              <a:rPr lang="en-US" i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for critical data elements </a:t>
            </a:r>
          </a:p>
          <a:p>
            <a:pPr marL="250603" indent="-250603">
              <a:buClr>
                <a:srgbClr val="444444"/>
              </a:buClr>
              <a:buSzPts val="1300"/>
              <a:buFont typeface="Arial"/>
              <a:buChar char="•"/>
            </a:pPr>
            <a:endParaRPr lang="en-US" i="1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n organizational efficiency: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1 FTE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from the HR department could be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reallocated to other tasks</a:t>
            </a:r>
            <a:endParaRPr lang="en-US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>
                <a:srgbClr val="444444"/>
              </a:buClr>
              <a:buSzPts val="1300"/>
            </a:pPr>
            <a:endParaRPr lang="en-US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 company wide transformation: the client started its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ta Transformation,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nd tasked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Infomineo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to work with the client’s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Finance Team to create their Financial dashboard</a:t>
            </a:r>
            <a:endParaRPr sz="1200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25" name="Google Shape;1325;p43"/>
          <p:cNvSpPr/>
          <p:nvPr/>
        </p:nvSpPr>
        <p:spPr>
          <a:xfrm>
            <a:off x="3834008" y="1971647"/>
            <a:ext cx="3200400" cy="5029200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329" name="Google Shape;1329;p43"/>
          <p:cNvSpPr txBox="1"/>
          <p:nvPr/>
        </p:nvSpPr>
        <p:spPr>
          <a:xfrm>
            <a:off x="4011826" y="2668648"/>
            <a:ext cx="2800657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600" dirty="0">
                <a:solidFill>
                  <a:srgbClr val="2222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company decided to use</a:t>
            </a:r>
            <a:r>
              <a:rPr lang="en-US" sz="1600" b="1" dirty="0">
                <a:solidFill>
                  <a:srgbClr val="2222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Infomineo’ Data Analytics service as a solution </a:t>
            </a:r>
            <a:r>
              <a:rPr lang="en-US" sz="1600" dirty="0">
                <a:solidFill>
                  <a:srgbClr val="2222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o cover</a:t>
            </a:r>
            <a:r>
              <a:rPr lang="en-US" sz="1600" b="1" dirty="0">
                <a:solidFill>
                  <a:srgbClr val="2222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:</a:t>
            </a:r>
            <a:endParaRPr sz="1600" dirty="0">
              <a:solidFill>
                <a:srgbClr val="22222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4" name="Google Shape;1334;p43"/>
          <p:cNvSpPr/>
          <p:nvPr/>
        </p:nvSpPr>
        <p:spPr>
          <a:xfrm>
            <a:off x="3834007" y="1971646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335" name="Google Shape;1335;p43"/>
          <p:cNvSpPr txBox="1"/>
          <p:nvPr/>
        </p:nvSpPr>
        <p:spPr>
          <a:xfrm>
            <a:off x="4662482" y="2145052"/>
            <a:ext cx="1543451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r Solution</a:t>
            </a:r>
            <a:endParaRPr sz="2000" dirty="0"/>
          </a:p>
        </p:txBody>
      </p:sp>
      <p:sp>
        <p:nvSpPr>
          <p:cNvPr id="1336" name="Google Shape;1336;p43"/>
          <p:cNvSpPr/>
          <p:nvPr/>
        </p:nvSpPr>
        <p:spPr>
          <a:xfrm>
            <a:off x="6175398" y="1883068"/>
            <a:ext cx="760341" cy="785580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>
              <a:solidFill>
                <a:srgbClr val="FFFFFF"/>
              </a:solidFill>
            </a:endParaRPr>
          </a:p>
        </p:txBody>
      </p:sp>
      <p:pic>
        <p:nvPicPr>
          <p:cNvPr id="1348" name="Google Shape;1348;p43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6298352" y="2013339"/>
            <a:ext cx="527194" cy="52719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DB3C2502-D2B4-AC00-CEB8-C65A595118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827" y="484188"/>
            <a:ext cx="9725386" cy="886397"/>
          </a:xfrm>
        </p:spPr>
        <p:txBody>
          <a:bodyPr vert="horz"/>
          <a:lstStyle/>
          <a:p>
            <a:r>
              <a:rPr lang="en-US" dirty="0"/>
              <a:t>A Comprehensive Dashboard of Key HR Metrics and Performance Indicators</a:t>
            </a:r>
            <a:endParaRPr lang="fr-FR" dirty="0"/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2BEE3AD1-7470-BBD1-0867-05D7DEC08CF3}"/>
              </a:ext>
            </a:extLst>
          </p:cNvPr>
          <p:cNvGrpSpPr/>
          <p:nvPr/>
        </p:nvGrpSpPr>
        <p:grpSpPr>
          <a:xfrm>
            <a:off x="3968617" y="3779837"/>
            <a:ext cx="2895728" cy="3971268"/>
            <a:chOff x="3962956" y="3854277"/>
            <a:chExt cx="2895728" cy="3971268"/>
          </a:xfrm>
        </p:grpSpPr>
        <p:sp>
          <p:nvSpPr>
            <p:cNvPr id="1357" name="Google Shape;1357;p43"/>
            <p:cNvSpPr txBox="1"/>
            <p:nvPr/>
          </p:nvSpPr>
          <p:spPr>
            <a:xfrm>
              <a:off x="4537396" y="7636583"/>
              <a:ext cx="57" cy="18896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endParaRPr sz="1228"/>
            </a:p>
          </p:txBody>
        </p:sp>
        <p:sp>
          <p:nvSpPr>
            <p:cNvPr id="1360" name="Google Shape;1360;p43"/>
            <p:cNvSpPr txBox="1"/>
            <p:nvPr/>
          </p:nvSpPr>
          <p:spPr>
            <a:xfrm>
              <a:off x="4576106" y="6004192"/>
              <a:ext cx="2201816" cy="9848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r>
                <a:rPr lang="en-US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Ad-hoc deliverables :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buSzPts val="1400"/>
              </a:pPr>
              <a:r>
                <a:rPr lang="en-US" sz="16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Dictionaries, Creation of Metadata, Data Quality onboarding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61" name="Google Shape;1361;p43"/>
            <p:cNvSpPr txBox="1"/>
            <p:nvPr/>
          </p:nvSpPr>
          <p:spPr>
            <a:xfrm>
              <a:off x="4576106" y="3854277"/>
              <a:ext cx="2282578" cy="9848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r>
                <a:rPr lang="en-US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Data Quality &amp; Consistency problems </a:t>
              </a:r>
              <a:r>
                <a:rPr lang="en-US" sz="16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between the various Data sources 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63" name="Google Shape;1363;p43" descr="List"/>
            <p:cNvPicPr preferRelativeResize="0"/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>
              <a:off x="4016685" y="6045354"/>
              <a:ext cx="414446" cy="39962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64" name="Google Shape;1364;p43"/>
            <p:cNvSpPr/>
            <p:nvPr/>
          </p:nvSpPr>
          <p:spPr>
            <a:xfrm>
              <a:off x="3964879" y="6004192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77" name="Google Shape;1377;p43" descr="The importance of the Data Quality - Captain Verify"/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4055059" y="3966771"/>
              <a:ext cx="320655" cy="4995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78" name="Google Shape;1378;p43" descr="Report Icons Added to Dashboard Suggestions - 4me"/>
            <p:cNvPicPr preferRelativeResize="0"/>
            <p:nvPr/>
          </p:nvPicPr>
          <p:blipFill rotWithShape="1">
            <a:blip r:embed="rId14">
              <a:alphaModFix/>
            </a:blip>
            <a:srcRect/>
            <a:stretch/>
          </p:blipFill>
          <p:spPr>
            <a:xfrm>
              <a:off x="3989921" y="5096927"/>
              <a:ext cx="464128" cy="55397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80" name="Google Shape;1380;p43"/>
            <p:cNvSpPr/>
            <p:nvPr/>
          </p:nvSpPr>
          <p:spPr>
            <a:xfrm>
              <a:off x="3962956" y="5096927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81" name="Google Shape;1381;p43"/>
            <p:cNvSpPr/>
            <p:nvPr/>
          </p:nvSpPr>
          <p:spPr>
            <a:xfrm>
              <a:off x="3965854" y="3961144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E869B12A-47CA-E52C-3977-4BFD622E5863}"/>
                </a:ext>
              </a:extLst>
            </p:cNvPr>
            <p:cNvSpPr txBox="1"/>
            <p:nvPr/>
          </p:nvSpPr>
          <p:spPr>
            <a:xfrm>
              <a:off x="4576106" y="5100416"/>
              <a:ext cx="2201816" cy="7386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>
                <a:buSzPts val="1400"/>
                <a:defRPr sz="1600" b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r>
                <a:rPr lang="en-US" dirty="0">
                  <a:sym typeface="Calibri"/>
                </a:rPr>
                <a:t>Dashboard creation </a:t>
              </a:r>
              <a:r>
                <a:rPr lang="en-US" b="0" dirty="0">
                  <a:sym typeface="Calibri"/>
                </a:rPr>
                <a:t>reflecting the HR Team’s needs</a:t>
              </a:r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1649E9C0-6989-315B-1910-C285C21687F8}"/>
              </a:ext>
            </a:extLst>
          </p:cNvPr>
          <p:cNvGrpSpPr/>
          <p:nvPr/>
        </p:nvGrpSpPr>
        <p:grpSpPr>
          <a:xfrm>
            <a:off x="9562276" y="1860154"/>
            <a:ext cx="760341" cy="782282"/>
            <a:chOff x="10751144" y="1927154"/>
            <a:chExt cx="760341" cy="782282"/>
          </a:xfrm>
        </p:grpSpPr>
        <p:sp>
          <p:nvSpPr>
            <p:cNvPr id="1339" name="Google Shape;1339;p43"/>
            <p:cNvSpPr/>
            <p:nvPr/>
          </p:nvSpPr>
          <p:spPr>
            <a:xfrm>
              <a:off x="10751144" y="1927154"/>
              <a:ext cx="760341" cy="782282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  <a:highlight>
                  <a:srgbClr val="FFFF00"/>
                </a:highlight>
              </a:endParaRPr>
            </a:p>
          </p:txBody>
        </p: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F7767128-27FE-D884-1BEF-6341D9192299}"/>
                </a:ext>
              </a:extLst>
            </p:cNvPr>
            <p:cNvGrpSpPr/>
            <p:nvPr/>
          </p:nvGrpSpPr>
          <p:grpSpPr>
            <a:xfrm>
              <a:off x="10915170" y="2128732"/>
              <a:ext cx="432288" cy="400866"/>
              <a:chOff x="10915170" y="2075424"/>
              <a:chExt cx="432288" cy="400866"/>
            </a:xfrm>
          </p:grpSpPr>
          <p:sp>
            <p:nvSpPr>
              <p:cNvPr id="1341" name="Google Shape;1341;p43"/>
              <p:cNvSpPr/>
              <p:nvPr/>
            </p:nvSpPr>
            <p:spPr>
              <a:xfrm>
                <a:off x="10915170" y="2075424"/>
                <a:ext cx="432288" cy="400866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2" name="Google Shape;1342;p43"/>
              <p:cNvSpPr/>
              <p:nvPr/>
            </p:nvSpPr>
            <p:spPr>
              <a:xfrm>
                <a:off x="11005647" y="2167089"/>
                <a:ext cx="282550" cy="266407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9B0FDF27-D68D-238A-51CD-F8C4A3FE17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4324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9B0FDF27-D68D-238A-51CD-F8C4A3FE17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C55C8445-77ED-8CED-24C7-2A4E0FD9F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827" y="494463"/>
            <a:ext cx="9725386" cy="886397"/>
          </a:xfrm>
        </p:spPr>
        <p:txBody>
          <a:bodyPr vert="horz"/>
          <a:lstStyle/>
          <a:p>
            <a:r>
              <a:rPr lang="en-US" sz="3200" b="1" dirty="0">
                <a:solidFill>
                  <a:srgbClr val="0F47F2"/>
                </a:solidFill>
              </a:rPr>
              <a:t>A Comprehensive Dashboard of Key Metrics and Performance Indicators</a:t>
            </a:r>
            <a:endParaRPr lang="en-US" dirty="0"/>
          </a:p>
        </p:txBody>
      </p:sp>
      <p:sp>
        <p:nvSpPr>
          <p:cNvPr id="3" name="Google Shape;1327;p43">
            <a:extLst>
              <a:ext uri="{FF2B5EF4-FFF2-40B4-BE49-F238E27FC236}">
                <a16:creationId xmlns:a16="http://schemas.microsoft.com/office/drawing/2014/main" id="{3F71A735-F83C-412D-9312-C77848FD7F99}"/>
              </a:ext>
            </a:extLst>
          </p:cNvPr>
          <p:cNvSpPr/>
          <p:nvPr/>
        </p:nvSpPr>
        <p:spPr>
          <a:xfrm>
            <a:off x="124969" y="1559641"/>
            <a:ext cx="4956482" cy="572485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en-US" sz="1228" dirty="0">
              <a:solidFill>
                <a:srgbClr val="FFFFFF"/>
              </a:solidFill>
            </a:endParaRPr>
          </a:p>
        </p:txBody>
      </p:sp>
      <p:sp>
        <p:nvSpPr>
          <p:cNvPr id="4" name="Google Shape;1331;p43">
            <a:extLst>
              <a:ext uri="{FF2B5EF4-FFF2-40B4-BE49-F238E27FC236}">
                <a16:creationId xmlns:a16="http://schemas.microsoft.com/office/drawing/2014/main" id="{27040624-E6BA-A6EC-D03D-4FF23EED6190}"/>
              </a:ext>
            </a:extLst>
          </p:cNvPr>
          <p:cNvSpPr/>
          <p:nvPr/>
        </p:nvSpPr>
        <p:spPr>
          <a:xfrm>
            <a:off x="124968" y="1559640"/>
            <a:ext cx="4956482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en-US" sz="1228" dirty="0">
              <a:solidFill>
                <a:srgbClr val="FFFFFF"/>
              </a:solidFill>
            </a:endParaRPr>
          </a:p>
        </p:txBody>
      </p:sp>
      <p:sp>
        <p:nvSpPr>
          <p:cNvPr id="5" name="Google Shape;1332;p43">
            <a:extLst>
              <a:ext uri="{FF2B5EF4-FFF2-40B4-BE49-F238E27FC236}">
                <a16:creationId xmlns:a16="http://schemas.microsoft.com/office/drawing/2014/main" id="{7D566193-4658-F966-72F8-08036852C661}"/>
              </a:ext>
            </a:extLst>
          </p:cNvPr>
          <p:cNvSpPr txBox="1"/>
          <p:nvPr/>
        </p:nvSpPr>
        <p:spPr>
          <a:xfrm>
            <a:off x="1649332" y="1737367"/>
            <a:ext cx="190775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sym typeface="Franklin Gothic"/>
              </a:rPr>
              <a:t>Achievements</a:t>
            </a:r>
            <a:endParaRPr lang="en-US" sz="2000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C86F2B2-9AA9-E3AA-8705-6908017202E5}"/>
              </a:ext>
            </a:extLst>
          </p:cNvPr>
          <p:cNvSpPr txBox="1"/>
          <p:nvPr/>
        </p:nvSpPr>
        <p:spPr>
          <a:xfrm>
            <a:off x="297614" y="2270006"/>
            <a:ext cx="4700536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model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s been elaborated considering that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 tool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re identified to contain the Data source need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4 source report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ve been created and their extractions’ have been automatized using AP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Quality Check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ve been automatized given business rules</a:t>
            </a:r>
          </a:p>
          <a:p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Report created contained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main section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Administrative, Professional Development, Recru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full-fledged report with 30 Dashboards,   150+ graph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0+ KPIs</a:t>
            </a:r>
          </a:p>
        </p:txBody>
      </p:sp>
      <p:pic>
        <p:nvPicPr>
          <p:cNvPr id="65" name="Image 64">
            <a:extLst>
              <a:ext uri="{FF2B5EF4-FFF2-40B4-BE49-F238E27FC236}">
                <a16:creationId xmlns:a16="http://schemas.microsoft.com/office/drawing/2014/main" id="{62D0DBC9-CF8D-FFB2-9C25-718CD5ED9D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30853" y="4600633"/>
            <a:ext cx="4841046" cy="2670008"/>
          </a:xfrm>
          <a:prstGeom prst="rect">
            <a:avLst/>
          </a:prstGeom>
        </p:spPr>
      </p:pic>
      <p:pic>
        <p:nvPicPr>
          <p:cNvPr id="61" name="Image 60">
            <a:extLst>
              <a:ext uri="{FF2B5EF4-FFF2-40B4-BE49-F238E27FC236}">
                <a16:creationId xmlns:a16="http://schemas.microsoft.com/office/drawing/2014/main" id="{24B2FE60-8BCE-B917-EE5C-F63CD49477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4095" y="1570129"/>
            <a:ext cx="5106511" cy="2851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4157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9B768CAB-C12D-23EB-5FC6-A822B775B4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330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9B768CAB-C12D-23EB-5FC6-A822B775B4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5" name="Google Shape;1325;p43"/>
          <p:cNvSpPr/>
          <p:nvPr/>
        </p:nvSpPr>
        <p:spPr>
          <a:xfrm>
            <a:off x="3624983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26" name="Google Shape;1326;p43"/>
          <p:cNvSpPr/>
          <p:nvPr/>
        </p:nvSpPr>
        <p:spPr>
          <a:xfrm>
            <a:off x="7142551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27" name="Google Shape;1327;p43"/>
          <p:cNvSpPr/>
          <p:nvPr/>
        </p:nvSpPr>
        <p:spPr>
          <a:xfrm>
            <a:off x="113540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fr-FR" sz="1228">
              <a:solidFill>
                <a:srgbClr val="FFFFFF"/>
              </a:solidFill>
            </a:endParaRPr>
          </a:p>
        </p:txBody>
      </p:sp>
      <p:sp>
        <p:nvSpPr>
          <p:cNvPr id="1328" name="Google Shape;1328;p43"/>
          <p:cNvSpPr txBox="1"/>
          <p:nvPr/>
        </p:nvSpPr>
        <p:spPr>
          <a:xfrm>
            <a:off x="334383" y="2299787"/>
            <a:ext cx="2908603" cy="19697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client collects large amounts of candidates' feedback data during the recruitment process and was looking for ways to analyze the data received through a survey.</a:t>
            </a:r>
          </a:p>
          <a:p>
            <a:pPr>
              <a:buClr>
                <a:srgbClr val="444444"/>
              </a:buClr>
              <a:buSzPts val="1300"/>
            </a:pPr>
            <a:endParaRPr lang="en-US" sz="16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firm was looking for: </a:t>
            </a:r>
            <a:endParaRPr lang="en-US" sz="16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329" name="Google Shape;1329;p43"/>
          <p:cNvSpPr txBox="1"/>
          <p:nvPr/>
        </p:nvSpPr>
        <p:spPr>
          <a:xfrm>
            <a:off x="3802802" y="2299787"/>
            <a:ext cx="279321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600" b="1" dirty="0">
                <a:solidFill>
                  <a:srgbClr val="2222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Infomineo’ s Data Analytics team addressed the client’s challenges by:</a:t>
            </a:r>
            <a:endParaRPr sz="1600" dirty="0">
              <a:solidFill>
                <a:srgbClr val="22222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0" name="Google Shape;1330;p43"/>
          <p:cNvSpPr txBox="1"/>
          <p:nvPr/>
        </p:nvSpPr>
        <p:spPr>
          <a:xfrm>
            <a:off x="7273191" y="2269982"/>
            <a:ext cx="2830269" cy="47397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indent="-285750"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analysis provided the client with a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rehensive overview of candidate sentiments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enabling them to identify areas of strength and areas for improvement in the recruitment process.</a:t>
            </a:r>
          </a:p>
          <a:p>
            <a:pPr marL="285750" indent="-285750"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endParaRPr lang="en-US" b="1" dirty="0">
              <a:solidFill>
                <a:srgbClr val="444444"/>
              </a:solidFill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marL="285750" indent="-285750"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r>
              <a:rPr lang="en-US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addition, the results of the analysis enabled the client to re-evaluate its recruitment procedures and </a:t>
            </a:r>
            <a:r>
              <a:rPr lang="en-US" b="1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ke data-driven decisions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improve the candidate experience </a:t>
            </a:r>
            <a:r>
              <a:rPr lang="en-US" b="1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 the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lobal, regional, country and departmental level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i="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r>
              <a:rPr lang="en-US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results also helped the client </a:t>
            </a:r>
            <a:r>
              <a:rPr lang="en-US" b="1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 new perspectives on the power of AI-powered tools</a:t>
            </a:r>
            <a:r>
              <a:rPr lang="en-US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 streamlining and enhancing the analysis of large datasets</a:t>
            </a:r>
          </a:p>
          <a:p>
            <a:pPr>
              <a:buClr>
                <a:srgbClr val="444444"/>
              </a:buClr>
              <a:buSzPts val="1300"/>
            </a:pPr>
            <a:r>
              <a:rPr lang="en-US" b="1" dirty="0">
                <a:solidFill>
                  <a:srgbClr val="444444"/>
                </a:solidFill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endParaRPr dirty="0"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1" name="Google Shape;1331;p43"/>
          <p:cNvSpPr/>
          <p:nvPr/>
        </p:nvSpPr>
        <p:spPr>
          <a:xfrm>
            <a:off x="113538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2" name="Google Shape;1332;p43"/>
          <p:cNvSpPr txBox="1"/>
          <p:nvPr/>
        </p:nvSpPr>
        <p:spPr>
          <a:xfrm>
            <a:off x="701865" y="1647941"/>
            <a:ext cx="2023746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 Challenge</a:t>
            </a:r>
            <a:endParaRPr sz="2000" dirty="0"/>
          </a:p>
        </p:txBody>
      </p:sp>
      <p:sp>
        <p:nvSpPr>
          <p:cNvPr id="1334" name="Google Shape;1334;p43"/>
          <p:cNvSpPr/>
          <p:nvPr/>
        </p:nvSpPr>
        <p:spPr>
          <a:xfrm>
            <a:off x="3624982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5" name="Google Shape;1335;p43"/>
          <p:cNvSpPr txBox="1"/>
          <p:nvPr/>
        </p:nvSpPr>
        <p:spPr>
          <a:xfrm>
            <a:off x="4495318" y="1647941"/>
            <a:ext cx="145972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r Solution</a:t>
            </a:r>
            <a:endParaRPr sz="2000" dirty="0"/>
          </a:p>
        </p:txBody>
      </p:sp>
      <p:sp>
        <p:nvSpPr>
          <p:cNvPr id="1337" name="Google Shape;1337;p43"/>
          <p:cNvSpPr/>
          <p:nvPr/>
        </p:nvSpPr>
        <p:spPr>
          <a:xfrm>
            <a:off x="7154583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38" name="Google Shape;1338;p43"/>
          <p:cNvSpPr txBox="1"/>
          <p:nvPr/>
        </p:nvSpPr>
        <p:spPr>
          <a:xfrm>
            <a:off x="7979760" y="1647941"/>
            <a:ext cx="1550046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tcome</a:t>
            </a:r>
            <a:endParaRPr sz="2000" dirty="0">
              <a:solidFill>
                <a:srgbClr val="FFFFFF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B0BB1FF5-5ED4-5481-C7DC-9E94E21D4E0D}"/>
              </a:ext>
            </a:extLst>
          </p:cNvPr>
          <p:cNvGrpSpPr/>
          <p:nvPr/>
        </p:nvGrpSpPr>
        <p:grpSpPr>
          <a:xfrm>
            <a:off x="9481106" y="1320540"/>
            <a:ext cx="760341" cy="785580"/>
            <a:chOff x="9456432" y="1295062"/>
            <a:chExt cx="760341" cy="785580"/>
          </a:xfrm>
        </p:grpSpPr>
        <p:sp>
          <p:nvSpPr>
            <p:cNvPr id="1339" name="Google Shape;1339;p43"/>
            <p:cNvSpPr/>
            <p:nvPr/>
          </p:nvSpPr>
          <p:spPr>
            <a:xfrm>
              <a:off x="9456432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  <a:highlight>
                  <a:srgbClr val="FFFF00"/>
                </a:highlight>
              </a:endParaRPr>
            </a:p>
          </p:txBody>
        </p:sp>
        <p:grpSp>
          <p:nvGrpSpPr>
            <p:cNvPr id="1340" name="Google Shape;1340;p43"/>
            <p:cNvGrpSpPr/>
            <p:nvPr/>
          </p:nvGrpSpPr>
          <p:grpSpPr>
            <a:xfrm>
              <a:off x="9593638" y="1468335"/>
              <a:ext cx="432288" cy="400866"/>
              <a:chOff x="7154863" y="4446588"/>
              <a:chExt cx="527050" cy="506412"/>
            </a:xfrm>
          </p:grpSpPr>
          <p:sp>
            <p:nvSpPr>
              <p:cNvPr id="1341" name="Google Shape;1341;p43"/>
              <p:cNvSpPr/>
              <p:nvPr/>
            </p:nvSpPr>
            <p:spPr>
              <a:xfrm>
                <a:off x="7154863" y="4446588"/>
                <a:ext cx="527050" cy="506412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2" name="Google Shape;1342;p43"/>
              <p:cNvSpPr/>
              <p:nvPr/>
            </p:nvSpPr>
            <p:spPr>
              <a:xfrm>
                <a:off x="7275513" y="4554538"/>
                <a:ext cx="344488" cy="336550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43" name="Google Shape;1343;p4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633291" y="472307"/>
            <a:ext cx="744343" cy="672164"/>
          </a:xfrm>
          <a:prstGeom prst="rect">
            <a:avLst/>
          </a:prstGeom>
          <a:noFill/>
          <a:ln>
            <a:noFill/>
          </a:ln>
        </p:spPr>
      </p:pic>
      <p:sp>
        <p:nvSpPr>
          <p:cNvPr id="1344" name="Google Shape;1344;p43"/>
          <p:cNvSpPr txBox="1"/>
          <p:nvPr/>
        </p:nvSpPr>
        <p:spPr>
          <a:xfrm>
            <a:off x="9426334" y="446045"/>
            <a:ext cx="1268475" cy="734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SzPts val="3200"/>
            </a:pP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ASE</a:t>
            </a:r>
            <a:b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TUDY</a:t>
            </a:r>
            <a:endParaRPr sz="1228" dirty="0"/>
          </a:p>
        </p:txBody>
      </p:sp>
      <p:cxnSp>
        <p:nvCxnSpPr>
          <p:cNvPr id="1345" name="Google Shape;1345;p43"/>
          <p:cNvCxnSpPr>
            <a:cxnSpLocks/>
          </p:cNvCxnSpPr>
          <p:nvPr/>
        </p:nvCxnSpPr>
        <p:spPr>
          <a:xfrm>
            <a:off x="8548800" y="1202687"/>
            <a:ext cx="202949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1E2B8DFF-DCB3-60BB-638F-FF6EBD0B4246}"/>
              </a:ext>
            </a:extLst>
          </p:cNvPr>
          <p:cNvGrpSpPr/>
          <p:nvPr/>
        </p:nvGrpSpPr>
        <p:grpSpPr>
          <a:xfrm>
            <a:off x="5970958" y="1327342"/>
            <a:ext cx="760341" cy="785580"/>
            <a:chOff x="6081621" y="1295062"/>
            <a:chExt cx="760341" cy="785580"/>
          </a:xfrm>
        </p:grpSpPr>
        <p:sp>
          <p:nvSpPr>
            <p:cNvPr id="1336" name="Google Shape;1336;p43"/>
            <p:cNvSpPr/>
            <p:nvPr/>
          </p:nvSpPr>
          <p:spPr>
            <a:xfrm>
              <a:off x="6081621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  <p:pic>
          <p:nvPicPr>
            <p:cNvPr id="1348" name="Google Shape;1348;p43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6191512" y="1425333"/>
              <a:ext cx="527194" cy="52719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9F8A3B65-F57B-AF83-B7BD-05B3C8783C9D}"/>
              </a:ext>
            </a:extLst>
          </p:cNvPr>
          <p:cNvGrpSpPr/>
          <p:nvPr/>
        </p:nvGrpSpPr>
        <p:grpSpPr>
          <a:xfrm>
            <a:off x="2482646" y="1352211"/>
            <a:ext cx="760341" cy="785580"/>
            <a:chOff x="2399025" y="1295062"/>
            <a:chExt cx="760341" cy="785580"/>
          </a:xfrm>
        </p:grpSpPr>
        <p:sp>
          <p:nvSpPr>
            <p:cNvPr id="1333" name="Google Shape;1333;p43"/>
            <p:cNvSpPr/>
            <p:nvPr/>
          </p:nvSpPr>
          <p:spPr>
            <a:xfrm>
              <a:off x="2399025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  <p:pic>
          <p:nvPicPr>
            <p:cNvPr id="1349" name="Google Shape;1349;p43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2519978" y="1428634"/>
              <a:ext cx="518435" cy="51843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F82AEC42-492F-E659-38F6-FC337E011C11}"/>
              </a:ext>
            </a:extLst>
          </p:cNvPr>
          <p:cNvGrpSpPr/>
          <p:nvPr/>
        </p:nvGrpSpPr>
        <p:grpSpPr>
          <a:xfrm>
            <a:off x="235802" y="4630725"/>
            <a:ext cx="400943" cy="400943"/>
            <a:chOff x="247232" y="4704668"/>
            <a:chExt cx="400943" cy="400943"/>
          </a:xfrm>
        </p:grpSpPr>
        <p:sp>
          <p:nvSpPr>
            <p:cNvPr id="1350" name="Google Shape;1350;p43"/>
            <p:cNvSpPr/>
            <p:nvPr/>
          </p:nvSpPr>
          <p:spPr>
            <a:xfrm>
              <a:off x="247232" y="4704668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51" name="Google Shape;1351;p43" descr="Gears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287327" y="4749071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FF26467-81F4-148B-DB0E-8EF73638DBF8}"/>
              </a:ext>
            </a:extLst>
          </p:cNvPr>
          <p:cNvGrpSpPr/>
          <p:nvPr/>
        </p:nvGrpSpPr>
        <p:grpSpPr>
          <a:xfrm>
            <a:off x="235802" y="5943055"/>
            <a:ext cx="400943" cy="400943"/>
            <a:chOff x="247232" y="5885905"/>
            <a:chExt cx="400943" cy="400943"/>
          </a:xfrm>
        </p:grpSpPr>
        <p:pic>
          <p:nvPicPr>
            <p:cNvPr id="1352" name="Google Shape;1352;p43" descr="Arrow circle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287326" y="5925999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53" name="Google Shape;1353;p43"/>
            <p:cNvSpPr/>
            <p:nvPr/>
          </p:nvSpPr>
          <p:spPr>
            <a:xfrm>
              <a:off x="247232" y="5885905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358" name="Google Shape;1358;p43"/>
          <p:cNvSpPr txBox="1"/>
          <p:nvPr/>
        </p:nvSpPr>
        <p:spPr>
          <a:xfrm>
            <a:off x="781681" y="4634532"/>
            <a:ext cx="2285257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utomated tool to </a:t>
            </a:r>
            <a:r>
              <a:rPr lang="en-US" sz="1600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nalyse candidate feedback</a:t>
            </a: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as opposed to doing it manually</a:t>
            </a:r>
            <a:endParaRPr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59" name="Google Shape;1359;p43"/>
          <p:cNvSpPr txBox="1"/>
          <p:nvPr/>
        </p:nvSpPr>
        <p:spPr>
          <a:xfrm>
            <a:off x="742742" y="5886265"/>
            <a:ext cx="2324196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Generate relevant insights from the analysed data to improve the candidate recruitment experience</a:t>
            </a:r>
            <a:endParaRPr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SzPts val="1400"/>
            </a:pPr>
            <a:endParaRPr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60" name="Google Shape;1360;p43"/>
          <p:cNvSpPr txBox="1"/>
          <p:nvPr/>
        </p:nvSpPr>
        <p:spPr>
          <a:xfrm>
            <a:off x="4199408" y="6105013"/>
            <a:ext cx="2423174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Creating a Dashboard :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SzPts val="1400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llowing for easy filtering of feedback and candidate sentiment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61" name="Google Shape;1361;p43"/>
          <p:cNvSpPr txBox="1"/>
          <p:nvPr/>
        </p:nvSpPr>
        <p:spPr>
          <a:xfrm>
            <a:off x="4212034" y="3018494"/>
            <a:ext cx="2410548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Conducting sentiment analysis using the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tate-of-the-art language model Roberta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o analyze candidate feedback and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extract the overall sentimen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76A9F99-9D89-FE4C-7506-86EB99E13231}"/>
              </a:ext>
            </a:extLst>
          </p:cNvPr>
          <p:cNvGrpSpPr/>
          <p:nvPr/>
        </p:nvGrpSpPr>
        <p:grpSpPr>
          <a:xfrm>
            <a:off x="3645835" y="6185023"/>
            <a:ext cx="518058" cy="499532"/>
            <a:chOff x="5500828" y="6320274"/>
            <a:chExt cx="518058" cy="499532"/>
          </a:xfrm>
        </p:grpSpPr>
        <p:pic>
          <p:nvPicPr>
            <p:cNvPr id="1363" name="Google Shape;1363;p43" descr="List"/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5552634" y="6361436"/>
              <a:ext cx="414446" cy="39962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64" name="Google Shape;1364;p43"/>
            <p:cNvSpPr/>
            <p:nvPr/>
          </p:nvSpPr>
          <p:spPr>
            <a:xfrm>
              <a:off x="5500828" y="6320274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C08D56E-E5A2-A104-8F64-D7BCE8B0F281}"/>
              </a:ext>
            </a:extLst>
          </p:cNvPr>
          <p:cNvGrpSpPr/>
          <p:nvPr/>
        </p:nvGrpSpPr>
        <p:grpSpPr>
          <a:xfrm>
            <a:off x="3681082" y="4281143"/>
            <a:ext cx="518058" cy="553977"/>
            <a:chOff x="5498905" y="4169287"/>
            <a:chExt cx="518058" cy="553977"/>
          </a:xfrm>
        </p:grpSpPr>
        <p:pic>
          <p:nvPicPr>
            <p:cNvPr id="1378" name="Google Shape;1378;p43" descr="Report Icons Added to Dashboard Suggestions - 4me"/>
            <p:cNvPicPr preferRelativeResize="0"/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>
              <a:off x="5525870" y="4169287"/>
              <a:ext cx="464128" cy="55397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80" name="Google Shape;1380;p43"/>
            <p:cNvSpPr/>
            <p:nvPr/>
          </p:nvSpPr>
          <p:spPr>
            <a:xfrm>
              <a:off x="5498905" y="4169287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364022A-9A9E-EA90-D3E4-271699B6F8FE}"/>
              </a:ext>
            </a:extLst>
          </p:cNvPr>
          <p:cNvGrpSpPr/>
          <p:nvPr/>
        </p:nvGrpSpPr>
        <p:grpSpPr>
          <a:xfrm>
            <a:off x="3636512" y="3125859"/>
            <a:ext cx="518058" cy="505159"/>
            <a:chOff x="5501803" y="3033502"/>
            <a:chExt cx="518058" cy="505159"/>
          </a:xfrm>
        </p:grpSpPr>
        <p:pic>
          <p:nvPicPr>
            <p:cNvPr id="1377" name="Google Shape;1377;p43" descr="The importance of the Data Quality - Captain Verify"/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5591008" y="3039129"/>
              <a:ext cx="320655" cy="4995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81" name="Google Shape;1381;p43"/>
            <p:cNvSpPr/>
            <p:nvPr/>
          </p:nvSpPr>
          <p:spPr>
            <a:xfrm>
              <a:off x="5501803" y="3033502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" name="Google Shape;1361;p43">
            <a:extLst>
              <a:ext uri="{FF2B5EF4-FFF2-40B4-BE49-F238E27FC236}">
                <a16:creationId xmlns:a16="http://schemas.microsoft.com/office/drawing/2014/main" id="{DBF9DA96-1BF9-563A-C39B-5A6DAC86B4EC}"/>
              </a:ext>
            </a:extLst>
          </p:cNvPr>
          <p:cNvSpPr txBox="1"/>
          <p:nvPr/>
        </p:nvSpPr>
        <p:spPr>
          <a:xfrm>
            <a:off x="4246958" y="4244316"/>
            <a:ext cx="2349053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ing 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I-powered text summarization 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rough 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n AI's GPT-3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o extract key insights from candidate comments, focusing on areas of concern such as discrimination and unprofessionalism and showing the specific comments.</a:t>
            </a:r>
            <a:endParaRPr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Google Shape;919;p38">
            <a:extLst>
              <a:ext uri="{FF2B5EF4-FFF2-40B4-BE49-F238E27FC236}">
                <a16:creationId xmlns:a16="http://schemas.microsoft.com/office/drawing/2014/main" id="{A475CFA9-914C-F7BB-35E5-9CD9D38CB4D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4188" y="484188"/>
            <a:ext cx="9725025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90000"/>
              </a:lnSpc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sz="2400" b="1" dirty="0">
                <a:solidFill>
                  <a:srgbClr val="0F47F2"/>
                </a:solidFill>
              </a:rPr>
              <a:t>Assessing Candidates’ Experience through </a:t>
            </a:r>
            <a:br>
              <a:rPr lang="en-US" sz="2400" b="1" dirty="0">
                <a:solidFill>
                  <a:srgbClr val="0F47F2"/>
                </a:solidFill>
              </a:rPr>
            </a:br>
            <a:r>
              <a:rPr lang="en-US" sz="2400" b="1" dirty="0">
                <a:solidFill>
                  <a:srgbClr val="0F47F2"/>
                </a:solidFill>
              </a:rPr>
              <a:t>Sentiment Analysis</a:t>
            </a:r>
          </a:p>
        </p:txBody>
      </p:sp>
    </p:spTree>
    <p:extLst>
      <p:ext uri="{BB962C8B-B14F-4D97-AF65-F5344CB8AC3E}">
        <p14:creationId xmlns:p14="http://schemas.microsoft.com/office/powerpoint/2010/main" val="42004838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CDD8DC6-1408-2700-732B-18A3E9795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CDD8DC6-1408-2700-732B-18A3E9795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327;p43">
            <a:extLst>
              <a:ext uri="{FF2B5EF4-FFF2-40B4-BE49-F238E27FC236}">
                <a16:creationId xmlns:a16="http://schemas.microsoft.com/office/drawing/2014/main" id="{9FA172F2-F097-83A9-3977-F6106B4F911B}"/>
              </a:ext>
            </a:extLst>
          </p:cNvPr>
          <p:cNvSpPr/>
          <p:nvPr/>
        </p:nvSpPr>
        <p:spPr>
          <a:xfrm>
            <a:off x="209654" y="1519572"/>
            <a:ext cx="3700414" cy="5834206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fr-FR" sz="1228">
              <a:solidFill>
                <a:srgbClr val="FFFFFF"/>
              </a:solidFill>
            </a:endParaRPr>
          </a:p>
        </p:txBody>
      </p:sp>
      <p:sp>
        <p:nvSpPr>
          <p:cNvPr id="895" name="Google Shape;895;p2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3200" b="1" dirty="0">
                <a:solidFill>
                  <a:srgbClr val="0F47F2"/>
                </a:solidFill>
              </a:rPr>
              <a:t>Assessing Candidate Experience through </a:t>
            </a:r>
            <a:br>
              <a:rPr lang="en-US" sz="3200" b="1" dirty="0">
                <a:solidFill>
                  <a:srgbClr val="0F47F2"/>
                </a:solidFill>
              </a:rPr>
            </a:br>
            <a:r>
              <a:rPr lang="en-US" sz="3200" b="1" dirty="0">
                <a:solidFill>
                  <a:srgbClr val="0F47F2"/>
                </a:solidFill>
              </a:rPr>
              <a:t>Sentiment Analysis</a:t>
            </a:r>
            <a:endParaRPr dirty="0"/>
          </a:p>
        </p:txBody>
      </p:sp>
      <p:sp>
        <p:nvSpPr>
          <p:cNvPr id="919" name="Google Shape;919;p29"/>
          <p:cNvSpPr txBox="1"/>
          <p:nvPr/>
        </p:nvSpPr>
        <p:spPr>
          <a:xfrm>
            <a:off x="398102" y="3983993"/>
            <a:ext cx="3383280" cy="1755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Fine-tuning the model to client-needs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ing limitations in the pre-trained model’s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ual labelling of a representative sample of candidates’ feedback data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e-tuning the model using the labeled data to better handle nuances and provide more accurate sentiment analysis results.</a:t>
            </a:r>
          </a:p>
        </p:txBody>
      </p:sp>
      <p:sp>
        <p:nvSpPr>
          <p:cNvPr id="920" name="Google Shape;920;p29"/>
          <p:cNvSpPr txBox="1"/>
          <p:nvPr/>
        </p:nvSpPr>
        <p:spPr>
          <a:xfrm>
            <a:off x="392116" y="2561508"/>
            <a:ext cx="3383280" cy="1326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Leveraging pre-trained Roberta Model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ndidates’ feedback  cleaning and pre-processing to ensure optimal input for the model.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ing "sentiment-Roberta-large model” as is for a start model.</a:t>
            </a:r>
          </a:p>
        </p:txBody>
      </p:sp>
      <p:sp>
        <p:nvSpPr>
          <p:cNvPr id="921" name="Google Shape;921;p29"/>
          <p:cNvSpPr txBox="1"/>
          <p:nvPr/>
        </p:nvSpPr>
        <p:spPr>
          <a:xfrm>
            <a:off x="392116" y="5725470"/>
            <a:ext cx="3383280" cy="1543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End to end solution deployed</a:t>
            </a:r>
            <a:endParaRPr b="1" dirty="0">
              <a:solidFill>
                <a:schemeClr val="accent1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tegrating the fine-tuned model with the ETL pipeline, automating sentiment analysis on incoming data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shboarding in Power BI for dynamic visualization of key insights, trends, and actionable feedback categorie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D5B234F-A52D-F1F5-B7BB-EFB0DFA642DE}"/>
              </a:ext>
            </a:extLst>
          </p:cNvPr>
          <p:cNvSpPr txBox="1"/>
          <p:nvPr/>
        </p:nvSpPr>
        <p:spPr>
          <a:xfrm>
            <a:off x="455721" y="1594795"/>
            <a:ext cx="3208281" cy="674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sz="1400" b="1" dirty="0">
                <a:solidFill>
                  <a:srgbClr val="0F47F2"/>
                </a:solidFill>
              </a:rPr>
              <a:t>Distinguishing Positive and Negative Feedback from candidates’ comment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7A29C05-1613-3368-0450-9F9EA4DA0741}"/>
              </a:ext>
            </a:extLst>
          </p:cNvPr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3742373" y="1900985"/>
            <a:ext cx="6949440" cy="4937760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isometricOffAxis1Right"/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3225300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CDD8DC6-1408-2700-732B-18A3E9795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CDD8DC6-1408-2700-732B-18A3E9795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327;p43">
            <a:extLst>
              <a:ext uri="{FF2B5EF4-FFF2-40B4-BE49-F238E27FC236}">
                <a16:creationId xmlns:a16="http://schemas.microsoft.com/office/drawing/2014/main" id="{D9712127-1D97-9954-1DEC-A0124467CD0A}"/>
              </a:ext>
            </a:extLst>
          </p:cNvPr>
          <p:cNvSpPr/>
          <p:nvPr/>
        </p:nvSpPr>
        <p:spPr>
          <a:xfrm>
            <a:off x="243187" y="1531603"/>
            <a:ext cx="3700414" cy="5834206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fr-FR" sz="1228">
              <a:solidFill>
                <a:srgbClr val="FFFFFF"/>
              </a:solidFill>
            </a:endParaRPr>
          </a:p>
        </p:txBody>
      </p:sp>
      <p:sp>
        <p:nvSpPr>
          <p:cNvPr id="895" name="Google Shape;895;p2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3200" b="1" dirty="0">
                <a:solidFill>
                  <a:srgbClr val="0F47F2"/>
                </a:solidFill>
              </a:rPr>
              <a:t>Assessing Candidate Experience through </a:t>
            </a:r>
            <a:br>
              <a:rPr lang="en-US" sz="3200" b="1" dirty="0">
                <a:solidFill>
                  <a:srgbClr val="0F47F2"/>
                </a:solidFill>
              </a:rPr>
            </a:br>
            <a:r>
              <a:rPr lang="en-US" sz="3200" b="1" dirty="0">
                <a:solidFill>
                  <a:srgbClr val="0F47F2"/>
                </a:solidFill>
              </a:rPr>
              <a:t>Sentiment Analysis</a:t>
            </a:r>
            <a:endParaRPr dirty="0"/>
          </a:p>
        </p:txBody>
      </p:sp>
      <p:sp>
        <p:nvSpPr>
          <p:cNvPr id="896" name="Google Shape;896;p29"/>
          <p:cNvSpPr txBox="1"/>
          <p:nvPr/>
        </p:nvSpPr>
        <p:spPr>
          <a:xfrm>
            <a:off x="418601" y="4056047"/>
            <a:ext cx="3383280" cy="1490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Exploiting </a:t>
            </a:r>
            <a:r>
              <a:rPr lang="en-US" b="1" dirty="0" err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OpenAI's</a:t>
            </a:r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 GPT-3 API for Text Summar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tilizing GPT-3 model, to perform targeted text summarization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ing the model with trained embeddings and specific summarization objectives for precise insight extraction</a:t>
            </a:r>
          </a:p>
        </p:txBody>
      </p:sp>
      <p:sp>
        <p:nvSpPr>
          <p:cNvPr id="897" name="Google Shape;897;p29"/>
          <p:cNvSpPr txBox="1"/>
          <p:nvPr/>
        </p:nvSpPr>
        <p:spPr>
          <a:xfrm>
            <a:off x="418601" y="2381029"/>
            <a:ext cx="3383280" cy="1628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Creating Embeddings for Candidate Com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kenizing candidate comments custom NLP techniques and open-source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nerating high-dimensional vector representations (embeddings) for each comment via </a:t>
            </a:r>
            <a:r>
              <a:rPr lang="en-US" sz="1228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enAI's</a:t>
            </a: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Embeddings API to  enhance performance.</a:t>
            </a:r>
            <a:endParaRPr sz="1228" dirty="0"/>
          </a:p>
        </p:txBody>
      </p:sp>
      <p:sp>
        <p:nvSpPr>
          <p:cNvPr id="898" name="Google Shape;898;p29"/>
          <p:cNvSpPr txBox="1"/>
          <p:nvPr/>
        </p:nvSpPr>
        <p:spPr>
          <a:xfrm>
            <a:off x="418601" y="5670720"/>
            <a:ext cx="3332494" cy="1704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Prioritizing and Categorizing Comments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structing GPT-3 to prioritize comments related to topics specified by the client : Discrimination, Rudeness, Suggested Improvements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pplying custom filters and thresholds to fine-tune the categorization and selection of comment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6EEF344-111A-4B9B-483C-871C429FE803}"/>
              </a:ext>
            </a:extLst>
          </p:cNvPr>
          <p:cNvSpPr txBox="1"/>
          <p:nvPr/>
        </p:nvSpPr>
        <p:spPr>
          <a:xfrm>
            <a:off x="489254" y="1606826"/>
            <a:ext cx="3208281" cy="674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sz="1400" b="1" dirty="0">
                <a:solidFill>
                  <a:srgbClr val="0F47F2"/>
                </a:solidFill>
              </a:rPr>
              <a:t>Highlighting Critical Insights: Advanced Text Summarization and GPT-3 Driven Categorization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29CA58A-6DAE-D0E5-26CD-C7BCBAC23B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43601" y="1659078"/>
            <a:ext cx="6206514" cy="5266856"/>
          </a:xfrm>
          <a:prstGeom prst="rect">
            <a:avLst/>
          </a:prstGeom>
          <a:scene3d>
            <a:camera prst="isometricOffAxis1Right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455113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9B768CAB-C12D-23EB-5FC6-A822B775B4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7313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9B768CAB-C12D-23EB-5FC6-A822B775B4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5" name="Google Shape;1325;p43"/>
          <p:cNvSpPr/>
          <p:nvPr/>
        </p:nvSpPr>
        <p:spPr>
          <a:xfrm>
            <a:off x="3624983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26" name="Google Shape;1326;p43"/>
          <p:cNvSpPr/>
          <p:nvPr/>
        </p:nvSpPr>
        <p:spPr>
          <a:xfrm>
            <a:off x="7142551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27" name="Google Shape;1327;p43"/>
          <p:cNvSpPr/>
          <p:nvPr/>
        </p:nvSpPr>
        <p:spPr>
          <a:xfrm>
            <a:off x="113540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fr-FR" sz="1228">
              <a:solidFill>
                <a:srgbClr val="FFFFFF"/>
              </a:solidFill>
            </a:endParaRPr>
          </a:p>
        </p:txBody>
      </p:sp>
      <p:sp>
        <p:nvSpPr>
          <p:cNvPr id="1331" name="Google Shape;1331;p43"/>
          <p:cNvSpPr/>
          <p:nvPr/>
        </p:nvSpPr>
        <p:spPr>
          <a:xfrm>
            <a:off x="113538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2" name="Google Shape;1332;p43"/>
          <p:cNvSpPr txBox="1"/>
          <p:nvPr/>
        </p:nvSpPr>
        <p:spPr>
          <a:xfrm>
            <a:off x="701865" y="1647941"/>
            <a:ext cx="2023746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 Challenge</a:t>
            </a:r>
            <a:endParaRPr sz="2000" dirty="0"/>
          </a:p>
        </p:txBody>
      </p:sp>
      <p:sp>
        <p:nvSpPr>
          <p:cNvPr id="1334" name="Google Shape;1334;p43"/>
          <p:cNvSpPr/>
          <p:nvPr/>
        </p:nvSpPr>
        <p:spPr>
          <a:xfrm>
            <a:off x="3624982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5" name="Google Shape;1335;p43"/>
          <p:cNvSpPr txBox="1"/>
          <p:nvPr/>
        </p:nvSpPr>
        <p:spPr>
          <a:xfrm>
            <a:off x="4495318" y="1647941"/>
            <a:ext cx="145972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r Solution</a:t>
            </a:r>
            <a:endParaRPr sz="2000" dirty="0"/>
          </a:p>
        </p:txBody>
      </p:sp>
      <p:sp>
        <p:nvSpPr>
          <p:cNvPr id="1337" name="Google Shape;1337;p43"/>
          <p:cNvSpPr/>
          <p:nvPr/>
        </p:nvSpPr>
        <p:spPr>
          <a:xfrm>
            <a:off x="7142551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38" name="Google Shape;1338;p43"/>
          <p:cNvSpPr txBox="1"/>
          <p:nvPr/>
        </p:nvSpPr>
        <p:spPr>
          <a:xfrm>
            <a:off x="7967728" y="1647941"/>
            <a:ext cx="1550046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tcome</a:t>
            </a:r>
            <a:endParaRPr sz="2000" dirty="0">
              <a:solidFill>
                <a:srgbClr val="FFFFFF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B0BB1FF5-5ED4-5481-C7DC-9E94E21D4E0D}"/>
              </a:ext>
            </a:extLst>
          </p:cNvPr>
          <p:cNvGrpSpPr/>
          <p:nvPr/>
        </p:nvGrpSpPr>
        <p:grpSpPr>
          <a:xfrm>
            <a:off x="9469074" y="1320540"/>
            <a:ext cx="760341" cy="785580"/>
            <a:chOff x="9456432" y="1295062"/>
            <a:chExt cx="760341" cy="785580"/>
          </a:xfrm>
        </p:grpSpPr>
        <p:sp>
          <p:nvSpPr>
            <p:cNvPr id="1339" name="Google Shape;1339;p43"/>
            <p:cNvSpPr/>
            <p:nvPr/>
          </p:nvSpPr>
          <p:spPr>
            <a:xfrm>
              <a:off x="9456432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  <a:highlight>
                  <a:srgbClr val="FFFF00"/>
                </a:highlight>
              </a:endParaRPr>
            </a:p>
          </p:txBody>
        </p:sp>
        <p:grpSp>
          <p:nvGrpSpPr>
            <p:cNvPr id="1340" name="Google Shape;1340;p43"/>
            <p:cNvGrpSpPr/>
            <p:nvPr/>
          </p:nvGrpSpPr>
          <p:grpSpPr>
            <a:xfrm>
              <a:off x="9593638" y="1468335"/>
              <a:ext cx="432288" cy="400866"/>
              <a:chOff x="7154863" y="4446588"/>
              <a:chExt cx="527050" cy="506412"/>
            </a:xfrm>
          </p:grpSpPr>
          <p:sp>
            <p:nvSpPr>
              <p:cNvPr id="1341" name="Google Shape;1341;p43"/>
              <p:cNvSpPr/>
              <p:nvPr/>
            </p:nvSpPr>
            <p:spPr>
              <a:xfrm>
                <a:off x="7154863" y="4446588"/>
                <a:ext cx="527050" cy="506412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2" name="Google Shape;1342;p43"/>
              <p:cNvSpPr/>
              <p:nvPr/>
            </p:nvSpPr>
            <p:spPr>
              <a:xfrm>
                <a:off x="7275513" y="4554538"/>
                <a:ext cx="344488" cy="336550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43" name="Google Shape;1343;p4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844741" y="496212"/>
            <a:ext cx="744343" cy="672164"/>
          </a:xfrm>
          <a:prstGeom prst="rect">
            <a:avLst/>
          </a:prstGeom>
          <a:noFill/>
          <a:ln>
            <a:noFill/>
          </a:ln>
        </p:spPr>
      </p:pic>
      <p:sp>
        <p:nvSpPr>
          <p:cNvPr id="1344" name="Google Shape;1344;p43"/>
          <p:cNvSpPr txBox="1"/>
          <p:nvPr/>
        </p:nvSpPr>
        <p:spPr>
          <a:xfrm>
            <a:off x="9558687" y="446045"/>
            <a:ext cx="1053168" cy="734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SzPts val="3200"/>
            </a:pP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ASE</a:t>
            </a:r>
            <a:b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TUDY</a:t>
            </a:r>
            <a:endParaRPr sz="1228" dirty="0"/>
          </a:p>
        </p:txBody>
      </p:sp>
      <p:cxnSp>
        <p:nvCxnSpPr>
          <p:cNvPr id="1345" name="Google Shape;1345;p43"/>
          <p:cNvCxnSpPr>
            <a:cxnSpLocks/>
          </p:cNvCxnSpPr>
          <p:nvPr/>
        </p:nvCxnSpPr>
        <p:spPr>
          <a:xfrm>
            <a:off x="8633024" y="1202687"/>
            <a:ext cx="202949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1E2B8DFF-DCB3-60BB-638F-FF6EBD0B4246}"/>
              </a:ext>
            </a:extLst>
          </p:cNvPr>
          <p:cNvGrpSpPr/>
          <p:nvPr/>
        </p:nvGrpSpPr>
        <p:grpSpPr>
          <a:xfrm>
            <a:off x="5958926" y="1327342"/>
            <a:ext cx="760341" cy="785580"/>
            <a:chOff x="6081621" y="1295062"/>
            <a:chExt cx="760341" cy="785580"/>
          </a:xfrm>
        </p:grpSpPr>
        <p:sp>
          <p:nvSpPr>
            <p:cNvPr id="1336" name="Google Shape;1336;p43"/>
            <p:cNvSpPr/>
            <p:nvPr/>
          </p:nvSpPr>
          <p:spPr>
            <a:xfrm>
              <a:off x="6081621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  <p:pic>
          <p:nvPicPr>
            <p:cNvPr id="1348" name="Google Shape;1348;p43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6191512" y="1425333"/>
              <a:ext cx="527194" cy="52719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9F8A3B65-F57B-AF83-B7BD-05B3C8783C9D}"/>
              </a:ext>
            </a:extLst>
          </p:cNvPr>
          <p:cNvGrpSpPr/>
          <p:nvPr/>
        </p:nvGrpSpPr>
        <p:grpSpPr>
          <a:xfrm>
            <a:off x="2482646" y="1352211"/>
            <a:ext cx="760341" cy="785580"/>
            <a:chOff x="2399025" y="1295062"/>
            <a:chExt cx="760341" cy="785580"/>
          </a:xfrm>
        </p:grpSpPr>
        <p:sp>
          <p:nvSpPr>
            <p:cNvPr id="1333" name="Google Shape;1333;p43"/>
            <p:cNvSpPr/>
            <p:nvPr/>
          </p:nvSpPr>
          <p:spPr>
            <a:xfrm>
              <a:off x="2399025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  <p:pic>
          <p:nvPicPr>
            <p:cNvPr id="1349" name="Google Shape;1349;p43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2519978" y="1428634"/>
              <a:ext cx="518435" cy="51843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" name="Google Shape;919;p38">
            <a:extLst>
              <a:ext uri="{FF2B5EF4-FFF2-40B4-BE49-F238E27FC236}">
                <a16:creationId xmlns:a16="http://schemas.microsoft.com/office/drawing/2014/main" id="{A475CFA9-914C-F7BB-35E5-9CD9D38CB4D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4189" y="484188"/>
            <a:ext cx="8383086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90000"/>
              </a:lnSpc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sz="2400" b="1" dirty="0">
                <a:solidFill>
                  <a:srgbClr val="0F47F2"/>
                </a:solidFill>
              </a:rPr>
              <a:t>Web Scraping Tool for Second-Hand Car Sales and</a:t>
            </a:r>
          </a:p>
        </p:txBody>
      </p:sp>
      <p:sp>
        <p:nvSpPr>
          <p:cNvPr id="2" name="Google Shape;1350;p43">
            <a:extLst>
              <a:ext uri="{FF2B5EF4-FFF2-40B4-BE49-F238E27FC236}">
                <a16:creationId xmlns:a16="http://schemas.microsoft.com/office/drawing/2014/main" id="{5F81543B-7F05-8891-7001-B347CEF37768}"/>
              </a:ext>
            </a:extLst>
          </p:cNvPr>
          <p:cNvSpPr/>
          <p:nvPr/>
        </p:nvSpPr>
        <p:spPr>
          <a:xfrm>
            <a:off x="353640" y="4739189"/>
            <a:ext cx="400943" cy="400943"/>
          </a:xfrm>
          <a:prstGeom prst="ellipse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pic>
        <p:nvPicPr>
          <p:cNvPr id="3" name="Google Shape;1351;p43" descr="Gears">
            <a:extLst>
              <a:ext uri="{FF2B5EF4-FFF2-40B4-BE49-F238E27FC236}">
                <a16:creationId xmlns:a16="http://schemas.microsoft.com/office/drawing/2014/main" id="{38324D90-0F74-5C6B-C65D-12FCC2EB4647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393735" y="4783592"/>
            <a:ext cx="320754" cy="32075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" name="Group 1">
            <a:extLst>
              <a:ext uri="{FF2B5EF4-FFF2-40B4-BE49-F238E27FC236}">
                <a16:creationId xmlns:a16="http://schemas.microsoft.com/office/drawing/2014/main" id="{B4CBF697-2559-E95F-B20E-125233681BB5}"/>
              </a:ext>
            </a:extLst>
          </p:cNvPr>
          <p:cNvGrpSpPr/>
          <p:nvPr/>
        </p:nvGrpSpPr>
        <p:grpSpPr>
          <a:xfrm>
            <a:off x="353640" y="6118885"/>
            <a:ext cx="400943" cy="400943"/>
            <a:chOff x="2956725" y="4881800"/>
            <a:chExt cx="400943" cy="400943"/>
          </a:xfrm>
        </p:grpSpPr>
        <p:pic>
          <p:nvPicPr>
            <p:cNvPr id="5" name="Google Shape;1352;p43" descr="Arrow circle">
              <a:extLst>
                <a:ext uri="{FF2B5EF4-FFF2-40B4-BE49-F238E27FC236}">
                  <a16:creationId xmlns:a16="http://schemas.microsoft.com/office/drawing/2014/main" id="{70A10CA3-96E9-38CD-1313-CD02972D2BA0}"/>
                </a:ext>
              </a:extLst>
            </p:cNvPr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2996819" y="4921894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" name="Google Shape;1353;p43">
              <a:extLst>
                <a:ext uri="{FF2B5EF4-FFF2-40B4-BE49-F238E27FC236}">
                  <a16:creationId xmlns:a16="http://schemas.microsoft.com/office/drawing/2014/main" id="{BB83E880-756A-6E90-8C97-F401E6EA3E1C}"/>
                </a:ext>
              </a:extLst>
            </p:cNvPr>
            <p:cNvSpPr/>
            <p:nvPr/>
          </p:nvSpPr>
          <p:spPr>
            <a:xfrm>
              <a:off x="2956725" y="4881800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</p:grpSp>
      <p:sp>
        <p:nvSpPr>
          <p:cNvPr id="7" name="Google Shape;1358;p43">
            <a:extLst>
              <a:ext uri="{FF2B5EF4-FFF2-40B4-BE49-F238E27FC236}">
                <a16:creationId xmlns:a16="http://schemas.microsoft.com/office/drawing/2014/main" id="{7DA1D1BC-6F7D-C4BF-27CD-25B325E1F901}"/>
              </a:ext>
            </a:extLst>
          </p:cNvPr>
          <p:cNvSpPr txBox="1"/>
          <p:nvPr/>
        </p:nvSpPr>
        <p:spPr>
          <a:xfrm>
            <a:off x="826818" y="4750705"/>
            <a:ext cx="2295216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n efficient and consistent way to regularly collect data from an e-commerce website which operates in Morocco</a:t>
            </a:r>
            <a:endParaRPr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Google Shape;1359;p43">
            <a:extLst>
              <a:ext uri="{FF2B5EF4-FFF2-40B4-BE49-F238E27FC236}">
                <a16:creationId xmlns:a16="http://schemas.microsoft.com/office/drawing/2014/main" id="{2A9E5841-E0B6-FDE8-9D14-230AD10F3F7B}"/>
              </a:ext>
            </a:extLst>
          </p:cNvPr>
          <p:cNvSpPr txBox="1"/>
          <p:nvPr/>
        </p:nvSpPr>
        <p:spPr>
          <a:xfrm>
            <a:off x="860580" y="6118885"/>
            <a:ext cx="225725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Create a database with the data collected daily to avoid bias of unsold items</a:t>
            </a:r>
            <a:endParaRPr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44E723C-0397-0D6A-0EDB-245B4F9028BC}"/>
              </a:ext>
            </a:extLst>
          </p:cNvPr>
          <p:cNvSpPr txBox="1"/>
          <p:nvPr/>
        </p:nvSpPr>
        <p:spPr>
          <a:xfrm>
            <a:off x="334275" y="2226370"/>
            <a:ext cx="290871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analyze the secondhand automobile market in Morocco the client needed access to relevant and accurate data . </a:t>
            </a:r>
          </a:p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client chose to use data of the country’s biggest C2C e-commerce platform.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F7CEEE-19DA-DCAC-EBDF-E6C6E9CB3E12}"/>
              </a:ext>
            </a:extLst>
          </p:cNvPr>
          <p:cNvSpPr txBox="1"/>
          <p:nvPr/>
        </p:nvSpPr>
        <p:spPr>
          <a:xfrm>
            <a:off x="334275" y="4208987"/>
            <a:ext cx="252649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firm was looking for: </a:t>
            </a:r>
            <a:endParaRPr lang="en-US" sz="16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4866F34B-085E-C14C-1D5D-3D72FA897956}"/>
              </a:ext>
            </a:extLst>
          </p:cNvPr>
          <p:cNvSpPr txBox="1"/>
          <p:nvPr/>
        </p:nvSpPr>
        <p:spPr>
          <a:xfrm>
            <a:off x="3624982" y="2204116"/>
            <a:ext cx="30942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600" b="1" dirty="0">
                <a:solidFill>
                  <a:srgbClr val="2222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Infomineo’ s Data Analytics team addressed the client’s need by:</a:t>
            </a:r>
            <a:endParaRPr lang="en-US" sz="1600" dirty="0">
              <a:solidFill>
                <a:srgbClr val="22222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E19C66E9-1780-8425-BD32-C1FB34545F16}"/>
              </a:ext>
            </a:extLst>
          </p:cNvPr>
          <p:cNvSpPr txBox="1"/>
          <p:nvPr/>
        </p:nvSpPr>
        <p:spPr>
          <a:xfrm>
            <a:off x="3685344" y="3365408"/>
            <a:ext cx="3079676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blishing data collection requirements</a:t>
            </a: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ing a data collection plan</a:t>
            </a: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signing a graphical user interface (GUI)</a:t>
            </a: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eaning and preprocessing the data</a:t>
            </a: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ow an easy sharing of the cod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8CA3393C-3D57-CBA7-A949-B614D2D53A15}"/>
              </a:ext>
            </a:extLst>
          </p:cNvPr>
          <p:cNvSpPr txBox="1"/>
          <p:nvPr/>
        </p:nvSpPr>
        <p:spPr>
          <a:xfrm>
            <a:off x="7341325" y="2353920"/>
            <a:ext cx="2888089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r>
              <a:rPr lang="en-US" sz="16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full-fledged </a:t>
            </a:r>
            <a:r>
              <a:rPr lang="en-US" sz="160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bscraping</a:t>
            </a:r>
            <a:r>
              <a:rPr lang="en-US" sz="16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ool, operable through a user interface was delivered to the client.</a:t>
            </a:r>
          </a:p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r>
              <a:rPr lang="en-US" sz="16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solution enabled the client to extract listings from the e-commerce platform, across all cities and categories, using specific keywords.</a:t>
            </a:r>
          </a:p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r>
              <a:rPr lang="en-US" sz="16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client gained time on the data collection process and created its own database of secondhand car sales. </a:t>
            </a:r>
          </a:p>
        </p:txBody>
      </p:sp>
    </p:spTree>
    <p:extLst>
      <p:ext uri="{BB962C8B-B14F-4D97-AF65-F5344CB8AC3E}">
        <p14:creationId xmlns:p14="http://schemas.microsoft.com/office/powerpoint/2010/main" val="30946025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FC16EB7E-957A-2EA7-1B4D-76A1B74A65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551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3004D887-6D70-9360-1A0C-5102D8D93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827" y="484188"/>
            <a:ext cx="4735873" cy="886397"/>
          </a:xfrm>
        </p:spPr>
        <p:txBody>
          <a:bodyPr vert="horz"/>
          <a:lstStyle/>
          <a:p>
            <a:r>
              <a:rPr lang="en-US" dirty="0"/>
              <a:t>Web Scraping Tool for Second-Hand Car Sales </a:t>
            </a:r>
            <a:endParaRPr lang="fr-FR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C4505851-BD06-B87D-D0F9-1D04A5134B9D}"/>
              </a:ext>
            </a:extLst>
          </p:cNvPr>
          <p:cNvSpPr txBox="1"/>
          <p:nvPr/>
        </p:nvSpPr>
        <p:spPr>
          <a:xfrm>
            <a:off x="411845" y="1424412"/>
            <a:ext cx="4807855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blish data collection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termination of </a:t>
            </a:r>
            <a:r>
              <a:rPr lang="en-US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5+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re data elements that allow the client to carry out its analysis : city, type, price, gearbox, fiscal horsepower, fuel, ad link, ad date, geographical sector, model, origin, condition, mileage, first-hand, number of doors, year-model.</a:t>
            </a:r>
          </a:p>
          <a:p>
            <a:endParaRPr lang="en-US" sz="16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 a data collection 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sign a systematic plan to collect data from the chosen e-commerce platform using a home-made Web Scrapping Too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s plan allows systematic data collection and storage. Car's listings are pulled daily for the whole country to constitute this database. </a:t>
            </a:r>
          </a:p>
          <a:p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sign a graphical user interface (GUI)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GUI has been developed in order to allow the client to require specific car brands/models and collect data on demand.</a:t>
            </a:r>
          </a:p>
          <a:p>
            <a:endParaRPr lang="en-US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ean and preprocess the data: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ce the data is collected, clean and preprocess is used to ensure its quality and usability. This involve removing duplicates, correcting inconsistencies, and converting data formats.</a:t>
            </a:r>
          </a:p>
          <a:p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ow an easy share of the code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ding the code in the official repository for Python packages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3C025F29-4AD1-7B66-A5CD-915F58BAD9F7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r="17409" b="44731"/>
          <a:stretch/>
        </p:blipFill>
        <p:spPr>
          <a:xfrm>
            <a:off x="5849194" y="4657604"/>
            <a:ext cx="4206240" cy="265176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80D8D383-8AC2-6899-6156-1B29B09E430F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849194" y="424493"/>
            <a:ext cx="4206240" cy="265176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5C850A4-8A92-29BF-8D3E-4A03B6E4CB6E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477795" y="3392500"/>
            <a:ext cx="1903204" cy="16152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8" name="Flèche : chevron 27">
            <a:extLst>
              <a:ext uri="{FF2B5EF4-FFF2-40B4-BE49-F238E27FC236}">
                <a16:creationId xmlns:a16="http://schemas.microsoft.com/office/drawing/2014/main" id="{8D73D544-3A82-2A61-DE19-CCBB02767549}"/>
              </a:ext>
            </a:extLst>
          </p:cNvPr>
          <p:cNvSpPr/>
          <p:nvPr/>
        </p:nvSpPr>
        <p:spPr>
          <a:xfrm rot="5400000">
            <a:off x="6100355" y="3167569"/>
            <a:ext cx="484632" cy="484632"/>
          </a:xfrm>
          <a:prstGeom prst="chevron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9" name="Flèche : chevron 28">
            <a:extLst>
              <a:ext uri="{FF2B5EF4-FFF2-40B4-BE49-F238E27FC236}">
                <a16:creationId xmlns:a16="http://schemas.microsoft.com/office/drawing/2014/main" id="{9F3BF839-E15D-D5F7-51ED-7452A4C42911}"/>
              </a:ext>
            </a:extLst>
          </p:cNvPr>
          <p:cNvSpPr/>
          <p:nvPr/>
        </p:nvSpPr>
        <p:spPr>
          <a:xfrm rot="5400000">
            <a:off x="6100355" y="3583179"/>
            <a:ext cx="484632" cy="484632"/>
          </a:xfrm>
          <a:prstGeom prst="chevron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30" name="Flèche : chevron 29">
            <a:extLst>
              <a:ext uri="{FF2B5EF4-FFF2-40B4-BE49-F238E27FC236}">
                <a16:creationId xmlns:a16="http://schemas.microsoft.com/office/drawing/2014/main" id="{2FE13D42-5FD7-5C25-8B9C-7DE9B8DBCC93}"/>
              </a:ext>
            </a:extLst>
          </p:cNvPr>
          <p:cNvSpPr/>
          <p:nvPr/>
        </p:nvSpPr>
        <p:spPr>
          <a:xfrm rot="5400000">
            <a:off x="6100355" y="3998790"/>
            <a:ext cx="484632" cy="484632"/>
          </a:xfrm>
          <a:prstGeom prst="chevron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D8ED815-BD36-EE9F-3906-D01D1BDD0C67}"/>
              </a:ext>
            </a:extLst>
          </p:cNvPr>
          <p:cNvSpPr/>
          <p:nvPr/>
        </p:nvSpPr>
        <p:spPr>
          <a:xfrm>
            <a:off x="6100355" y="484188"/>
            <a:ext cx="718457" cy="2728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1769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25</TotalTime>
  <Words>1138</Words>
  <Application>Microsoft Office PowerPoint</Application>
  <PresentationFormat>Personnalisé</PresentationFormat>
  <Paragraphs>123</Paragraphs>
  <Slides>7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14" baseType="lpstr">
      <vt:lpstr>Franklin Gothic</vt:lpstr>
      <vt:lpstr>Noto Sans Symbols</vt:lpstr>
      <vt:lpstr>Arial</vt:lpstr>
      <vt:lpstr>Libre Franklin</vt:lpstr>
      <vt:lpstr>Calibri</vt:lpstr>
      <vt:lpstr>Office Theme</vt:lpstr>
      <vt:lpstr>Diapositive think-cell</vt:lpstr>
      <vt:lpstr>A Comprehensive Dashboard of Key HR Metrics and Performance Indicators</vt:lpstr>
      <vt:lpstr>A Comprehensive Dashboard of Key Metrics and Performance Indicators</vt:lpstr>
      <vt:lpstr>Assessing Candidates’ Experience through  Sentiment Analysis</vt:lpstr>
      <vt:lpstr>Assessing Candidate Experience through  Sentiment Analysis</vt:lpstr>
      <vt:lpstr>Assessing Candidate Experience through  Sentiment Analysis</vt:lpstr>
      <vt:lpstr>Web Scraping Tool for Second-Hand Car Sales and</vt:lpstr>
      <vt:lpstr>Web Scraping Tool for Second-Hand Car Sal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Title</dc:title>
  <dc:creator>User1</dc:creator>
  <cp:lastModifiedBy>Casa 2</cp:lastModifiedBy>
  <cp:revision>26</cp:revision>
  <dcterms:created xsi:type="dcterms:W3CDTF">2022-09-30T10:53:53Z</dcterms:created>
  <dcterms:modified xsi:type="dcterms:W3CDTF">2023-03-21T15:02:17Z</dcterms:modified>
</cp:coreProperties>
</file>